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475" r:id="rId5"/>
    <p:sldMasterId id="2147484495" r:id="rId6"/>
    <p:sldMasterId id="2147484516" r:id="rId7"/>
    <p:sldMasterId id="2147484536" r:id="rId8"/>
  </p:sldMasterIdLst>
  <p:notesMasterIdLst>
    <p:notesMasterId r:id="rId122"/>
  </p:notesMasterIdLst>
  <p:handoutMasterIdLst>
    <p:handoutMasterId r:id="rId123"/>
  </p:handoutMasterIdLst>
  <p:sldIdLst>
    <p:sldId id="1520" r:id="rId9"/>
    <p:sldId id="1548" r:id="rId10"/>
    <p:sldId id="1640" r:id="rId11"/>
    <p:sldId id="1641" r:id="rId12"/>
    <p:sldId id="1706" r:id="rId13"/>
    <p:sldId id="1772" r:id="rId14"/>
    <p:sldId id="1686" r:id="rId15"/>
    <p:sldId id="1687" r:id="rId16"/>
    <p:sldId id="1712" r:id="rId17"/>
    <p:sldId id="1688" r:id="rId18"/>
    <p:sldId id="1708" r:id="rId19"/>
    <p:sldId id="1714" r:id="rId20"/>
    <p:sldId id="1715" r:id="rId21"/>
    <p:sldId id="1716" r:id="rId22"/>
    <p:sldId id="1717" r:id="rId23"/>
    <p:sldId id="1713" r:id="rId24"/>
    <p:sldId id="1709" r:id="rId25"/>
    <p:sldId id="1718" r:id="rId26"/>
    <p:sldId id="1719" r:id="rId27"/>
    <p:sldId id="1720" r:id="rId28"/>
    <p:sldId id="1721" r:id="rId29"/>
    <p:sldId id="1723" r:id="rId30"/>
    <p:sldId id="1710" r:id="rId31"/>
    <p:sldId id="1724" r:id="rId32"/>
    <p:sldId id="1725" r:id="rId33"/>
    <p:sldId id="1726" r:id="rId34"/>
    <p:sldId id="1728" r:id="rId35"/>
    <p:sldId id="1729" r:id="rId36"/>
    <p:sldId id="1730" r:id="rId37"/>
    <p:sldId id="1731" r:id="rId38"/>
    <p:sldId id="1711" r:id="rId39"/>
    <p:sldId id="1732" r:id="rId40"/>
    <p:sldId id="1733" r:id="rId41"/>
    <p:sldId id="1734" r:id="rId42"/>
    <p:sldId id="1735" r:id="rId43"/>
    <p:sldId id="1769" r:id="rId44"/>
    <p:sldId id="1765" r:id="rId45"/>
    <p:sldId id="1644" r:id="rId46"/>
    <p:sldId id="1763" r:id="rId47"/>
    <p:sldId id="1642" r:id="rId48"/>
    <p:sldId id="1675" r:id="rId49"/>
    <p:sldId id="1643" r:id="rId50"/>
    <p:sldId id="1650" r:id="rId51"/>
    <p:sldId id="1646" r:id="rId52"/>
    <p:sldId id="1651" r:id="rId53"/>
    <p:sldId id="1653" r:id="rId54"/>
    <p:sldId id="1648" r:id="rId55"/>
    <p:sldId id="1652" r:id="rId56"/>
    <p:sldId id="1654" r:id="rId57"/>
    <p:sldId id="1649" r:id="rId58"/>
    <p:sldId id="1655" r:id="rId59"/>
    <p:sldId id="1656" r:id="rId60"/>
    <p:sldId id="1657" r:id="rId61"/>
    <p:sldId id="1658" r:id="rId62"/>
    <p:sldId id="1660" r:id="rId63"/>
    <p:sldId id="1685" r:id="rId64"/>
    <p:sldId id="1667" r:id="rId65"/>
    <p:sldId id="1668" r:id="rId66"/>
    <p:sldId id="1669" r:id="rId67"/>
    <p:sldId id="1670" r:id="rId68"/>
    <p:sldId id="1647" r:id="rId69"/>
    <p:sldId id="1661" r:id="rId70"/>
    <p:sldId id="1662" r:id="rId71"/>
    <p:sldId id="1663" r:id="rId72"/>
    <p:sldId id="1676" r:id="rId73"/>
    <p:sldId id="1673" r:id="rId74"/>
    <p:sldId id="1664" r:id="rId75"/>
    <p:sldId id="1665" r:id="rId76"/>
    <p:sldId id="1666" r:id="rId77"/>
    <p:sldId id="1677" r:id="rId78"/>
    <p:sldId id="1678" r:id="rId79"/>
    <p:sldId id="1672" r:id="rId80"/>
    <p:sldId id="1699" r:id="rId81"/>
    <p:sldId id="1700" r:id="rId82"/>
    <p:sldId id="1671" r:id="rId83"/>
    <p:sldId id="1674" r:id="rId84"/>
    <p:sldId id="1680" r:id="rId85"/>
    <p:sldId id="1679" r:id="rId86"/>
    <p:sldId id="1681" r:id="rId87"/>
    <p:sldId id="1684" r:id="rId88"/>
    <p:sldId id="1682" r:id="rId89"/>
    <p:sldId id="1701" r:id="rId90"/>
    <p:sldId id="1736" r:id="rId91"/>
    <p:sldId id="1738" r:id="rId92"/>
    <p:sldId id="1739" r:id="rId93"/>
    <p:sldId id="1741" r:id="rId94"/>
    <p:sldId id="1742" r:id="rId95"/>
    <p:sldId id="1743" r:id="rId96"/>
    <p:sldId id="1744" r:id="rId97"/>
    <p:sldId id="1745" r:id="rId98"/>
    <p:sldId id="1746" r:id="rId99"/>
    <p:sldId id="1747" r:id="rId100"/>
    <p:sldId id="1768" r:id="rId101"/>
    <p:sldId id="1766" r:id="rId102"/>
    <p:sldId id="1702" r:id="rId103"/>
    <p:sldId id="1764" r:id="rId104"/>
    <p:sldId id="1748" r:id="rId105"/>
    <p:sldId id="1749" r:id="rId106"/>
    <p:sldId id="1753" r:id="rId107"/>
    <p:sldId id="1751" r:id="rId108"/>
    <p:sldId id="1750" r:id="rId109"/>
    <p:sldId id="1754" r:id="rId110"/>
    <p:sldId id="1755" r:id="rId111"/>
    <p:sldId id="1756" r:id="rId112"/>
    <p:sldId id="1757" r:id="rId113"/>
    <p:sldId id="1758" r:id="rId114"/>
    <p:sldId id="1759" r:id="rId115"/>
    <p:sldId id="1760" r:id="rId116"/>
    <p:sldId id="1762" r:id="rId117"/>
    <p:sldId id="1761" r:id="rId118"/>
    <p:sldId id="1771" r:id="rId119"/>
    <p:sldId id="1770" r:id="rId120"/>
    <p:sldId id="1547" r:id="rId121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073DAE3-B461-442F-A3D3-6642BD875E45}">
          <p14:sldIdLst>
            <p14:sldId id="1520"/>
            <p14:sldId id="1548"/>
            <p14:sldId id="1640"/>
          </p14:sldIdLst>
        </p14:section>
        <p14:section name="Scenario overview" id="{DE6E2E6F-C4F9-D64C-8ABA-CAC1CC68EC52}">
          <p14:sldIdLst>
            <p14:sldId id="1641"/>
          </p14:sldIdLst>
        </p14:section>
        <p14:section name="Technology overview" id="{B63E11F3-4FBF-F84D-AA29-D094B5D57508}">
          <p14:sldIdLst>
            <p14:sldId id="1706"/>
            <p14:sldId id="1772"/>
            <p14:sldId id="1686"/>
            <p14:sldId id="1687"/>
            <p14:sldId id="1712"/>
            <p14:sldId id="1688"/>
            <p14:sldId id="1708"/>
            <p14:sldId id="1714"/>
            <p14:sldId id="1715"/>
            <p14:sldId id="1716"/>
            <p14:sldId id="1717"/>
            <p14:sldId id="1713"/>
            <p14:sldId id="1709"/>
            <p14:sldId id="1718"/>
            <p14:sldId id="1719"/>
            <p14:sldId id="1720"/>
            <p14:sldId id="1721"/>
            <p14:sldId id="1723"/>
            <p14:sldId id="1710"/>
            <p14:sldId id="1724"/>
            <p14:sldId id="1725"/>
            <p14:sldId id="1726"/>
            <p14:sldId id="1728"/>
            <p14:sldId id="1729"/>
            <p14:sldId id="1730"/>
            <p14:sldId id="1731"/>
            <p14:sldId id="1711"/>
            <p14:sldId id="1732"/>
            <p14:sldId id="1733"/>
            <p14:sldId id="1734"/>
            <p14:sldId id="1735"/>
            <p14:sldId id="1769"/>
          </p14:sldIdLst>
        </p14:section>
        <p14:section name="Deployment" id="{4398AD60-4808-FC4E-A1BF-E28E54CA79BF}">
          <p14:sldIdLst>
            <p14:sldId id="1765"/>
            <p14:sldId id="1644"/>
            <p14:sldId id="1763"/>
            <p14:sldId id="1642"/>
            <p14:sldId id="1675"/>
            <p14:sldId id="1643"/>
            <p14:sldId id="1650"/>
            <p14:sldId id="1646"/>
            <p14:sldId id="1651"/>
            <p14:sldId id="1653"/>
            <p14:sldId id="1648"/>
            <p14:sldId id="1652"/>
            <p14:sldId id="1654"/>
            <p14:sldId id="1649"/>
            <p14:sldId id="1655"/>
            <p14:sldId id="1656"/>
            <p14:sldId id="1657"/>
            <p14:sldId id="1658"/>
            <p14:sldId id="1660"/>
            <p14:sldId id="1685"/>
            <p14:sldId id="1667"/>
            <p14:sldId id="1668"/>
            <p14:sldId id="1669"/>
            <p14:sldId id="1670"/>
            <p14:sldId id="1647"/>
            <p14:sldId id="1661"/>
            <p14:sldId id="1662"/>
            <p14:sldId id="1663"/>
            <p14:sldId id="1676"/>
            <p14:sldId id="1673"/>
            <p14:sldId id="1664"/>
            <p14:sldId id="1665"/>
            <p14:sldId id="1666"/>
            <p14:sldId id="1677"/>
            <p14:sldId id="1678"/>
            <p14:sldId id="1672"/>
            <p14:sldId id="1699"/>
            <p14:sldId id="1700"/>
            <p14:sldId id="1671"/>
            <p14:sldId id="1674"/>
            <p14:sldId id="1680"/>
            <p14:sldId id="1679"/>
            <p14:sldId id="1681"/>
            <p14:sldId id="1684"/>
            <p14:sldId id="1682"/>
          </p14:sldIdLst>
        </p14:section>
        <p14:section name="Importing API into APIM" id="{663AC7C1-644E-A74F-B32F-93F355807C59}">
          <p14:sldIdLst>
            <p14:sldId id="1701"/>
            <p14:sldId id="1736"/>
            <p14:sldId id="1738"/>
            <p14:sldId id="1739"/>
            <p14:sldId id="1741"/>
            <p14:sldId id="1742"/>
            <p14:sldId id="1743"/>
            <p14:sldId id="1744"/>
            <p14:sldId id="1745"/>
            <p14:sldId id="1746"/>
            <p14:sldId id="1747"/>
            <p14:sldId id="1768"/>
          </p14:sldIdLst>
        </p14:section>
        <p14:section name="Integration and workflow" id="{1C452E00-B27D-1140-AFDA-C38C4CD9D966}">
          <p14:sldIdLst>
            <p14:sldId id="1766"/>
            <p14:sldId id="1702"/>
            <p14:sldId id="1764"/>
            <p14:sldId id="1748"/>
            <p14:sldId id="1749"/>
            <p14:sldId id="1753"/>
            <p14:sldId id="1751"/>
            <p14:sldId id="1750"/>
            <p14:sldId id="1754"/>
            <p14:sldId id="1755"/>
            <p14:sldId id="1756"/>
            <p14:sldId id="1757"/>
            <p14:sldId id="1758"/>
            <p14:sldId id="1759"/>
            <p14:sldId id="1760"/>
          </p14:sldIdLst>
        </p14:section>
        <p14:section name="Testing" id="{758A062F-35BD-A14F-B48D-5CB639A1A060}">
          <p14:sldIdLst>
            <p14:sldId id="1762"/>
            <p14:sldId id="1761"/>
          </p14:sldIdLst>
        </p14:section>
        <p14:section name="Closing" id="{BB00CB64-77A4-4BA9-B0A0-EF2154DA3071}">
          <p14:sldIdLst>
            <p14:sldId id="1771"/>
            <p14:sldId id="1770"/>
            <p14:sldId id="15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/>
  </p:cmAuthor>
  <p:cmAuthor id="3" name="Mary Feil-Jacobs" initials="MF" lastIdx="2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F50"/>
    <a:srgbClr val="F2F2F2"/>
    <a:srgbClr val="1C1C1C"/>
    <a:srgbClr val="252525"/>
    <a:srgbClr val="008BF0"/>
    <a:srgbClr val="107C10"/>
    <a:srgbClr val="000000"/>
    <a:srgbClr val="FFFFFF"/>
    <a:srgbClr val="0078D7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84" autoAdjust="0"/>
    <p:restoredTop sz="95361" autoAdjust="0"/>
  </p:normalViewPr>
  <p:slideViewPr>
    <p:cSldViewPr>
      <p:cViewPr>
        <p:scale>
          <a:sx n="75" d="100"/>
          <a:sy n="75" d="100"/>
        </p:scale>
        <p:origin x="1736" y="10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882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9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handoutMaster" Target="handoutMasters/handoutMaster1.xml"/><Relationship Id="rId12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113" Type="http://schemas.openxmlformats.org/officeDocument/2006/relationships/slide" Target="slides/slide105.xml"/><Relationship Id="rId118" Type="http://schemas.openxmlformats.org/officeDocument/2006/relationships/slide" Target="slides/slide110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24" Type="http://schemas.openxmlformats.org/officeDocument/2006/relationships/commentAuthors" Target="commentAuthors.xml"/><Relationship Id="rId129" Type="http://schemas.microsoft.com/office/2016/11/relationships/changesInfo" Target="changesInfos/changesInfo1.xml"/><Relationship Id="rId54" Type="http://schemas.openxmlformats.org/officeDocument/2006/relationships/slide" Target="slides/slide46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49" Type="http://schemas.openxmlformats.org/officeDocument/2006/relationships/slide" Target="slides/slide41.xml"/><Relationship Id="rId114" Type="http://schemas.openxmlformats.org/officeDocument/2006/relationships/slide" Target="slides/slide106.xml"/><Relationship Id="rId119" Type="http://schemas.openxmlformats.org/officeDocument/2006/relationships/slide" Target="slides/slide111.xml"/><Relationship Id="rId44" Type="http://schemas.openxmlformats.org/officeDocument/2006/relationships/slide" Target="slides/slide36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120" Type="http://schemas.openxmlformats.org/officeDocument/2006/relationships/slide" Target="slides/slide112.xml"/><Relationship Id="rId12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slide" Target="slides/slide107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2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121" Type="http://schemas.openxmlformats.org/officeDocument/2006/relationships/slide" Target="slides/slide113.xml"/><Relationship Id="rId3" Type="http://schemas.openxmlformats.org/officeDocument/2006/relationships/customXml" Target="../customXml/item3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116" Type="http://schemas.openxmlformats.org/officeDocument/2006/relationships/slide" Target="slides/slide10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111" Type="http://schemas.openxmlformats.org/officeDocument/2006/relationships/slide" Target="slides/slide103.xml"/><Relationship Id="rId15" Type="http://schemas.openxmlformats.org/officeDocument/2006/relationships/slide" Target="slides/slide7.xml"/><Relationship Id="rId36" Type="http://schemas.openxmlformats.org/officeDocument/2006/relationships/slide" Target="slides/slide28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27" Type="http://schemas.openxmlformats.org/officeDocument/2006/relationships/theme" Target="theme/theme1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52" Type="http://schemas.openxmlformats.org/officeDocument/2006/relationships/slide" Target="slides/slide44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26" Type="http://schemas.openxmlformats.org/officeDocument/2006/relationships/slide" Target="slides/slide1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hmed Sabbour" userId="c4279823-a7c7-477e-982e-f4145bb0a83d" providerId="ADAL" clId="{3B14710D-300F-4D19-B4EA-1002A366550D}"/>
    <pc:docChg chg="undo redo custSel addSld delSld modSld sldOrd modMainMaster addSection delSection modSection">
      <pc:chgData name="Ahmed Sabbour" userId="c4279823-a7c7-477e-982e-f4145bb0a83d" providerId="ADAL" clId="{3B14710D-300F-4D19-B4EA-1002A366550D}" dt="2017-08-10T11:18:20.639" v="19163" actId="20577"/>
      <pc:docMkLst>
        <pc:docMk/>
      </pc:docMkLst>
      <pc:sldChg chg="addSp delSp modSp ord">
        <pc:chgData name="Ahmed Sabbour" userId="c4279823-a7c7-477e-982e-f4145bb0a83d" providerId="ADAL" clId="{3B14710D-300F-4D19-B4EA-1002A366550D}" dt="2017-08-08T11:25:59.514" v="14361" actId="20577"/>
        <pc:sldMkLst>
          <pc:docMk/>
          <pc:sldMk cId="3791138055" sldId="1520"/>
        </pc:sldMkLst>
        <pc:spChg chg="mod">
          <ac:chgData name="Ahmed Sabbour" userId="c4279823-a7c7-477e-982e-f4145bb0a83d" providerId="ADAL" clId="{3B14710D-300F-4D19-B4EA-1002A366550D}" dt="2017-08-07T08:20:04.531" v="9682" actId="20577"/>
          <ac:spMkLst>
            <pc:docMk/>
            <pc:sldMk cId="3791138055" sldId="1520"/>
            <ac:spMk id="4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2:08:24.574" v="5903" actId="14100"/>
          <ac:spMkLst>
            <pc:docMk/>
            <pc:sldMk cId="3791138055" sldId="1520"/>
            <ac:spMk id="5" creationId="{00000000-0000-0000-0000-000000000000}"/>
          </ac:spMkLst>
        </pc:spChg>
        <pc:spChg chg="add mod">
          <ac:chgData name="Ahmed Sabbour" userId="c4279823-a7c7-477e-982e-f4145bb0a83d" providerId="ADAL" clId="{3B14710D-300F-4D19-B4EA-1002A366550D}" dt="2017-08-02T12:07:21.687" v="5817" actId="14100"/>
          <ac:spMkLst>
            <pc:docMk/>
            <pc:sldMk cId="3791138055" sldId="1520"/>
            <ac:spMk id="9" creationId="{C78FE804-9ED7-41F4-821D-0437F8028BB1}"/>
          </ac:spMkLst>
        </pc:spChg>
        <pc:spChg chg="add mod">
          <ac:chgData name="Ahmed Sabbour" userId="c4279823-a7c7-477e-982e-f4145bb0a83d" providerId="ADAL" clId="{3B14710D-300F-4D19-B4EA-1002A366550D}" dt="2017-08-07T08:19:33.454" v="9655" actId="20577"/>
          <ac:spMkLst>
            <pc:docMk/>
            <pc:sldMk cId="3791138055" sldId="1520"/>
            <ac:spMk id="10" creationId="{7677A12F-5E50-41B2-81CE-B42784A6A798}"/>
          </ac:spMkLst>
        </pc:sp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6" creationId="{0EF82C06-5EAA-41FC-A6A7-C991ACDD793E}"/>
          </ac:picMkLst>
        </pc:pic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7" creationId="{8D4B43B1-F6FB-4C7E-A948-BC40F58086C3}"/>
          </ac:picMkLst>
        </pc:picChg>
        <pc:picChg chg="add del mod">
          <ac:chgData name="Ahmed Sabbour" userId="c4279823-a7c7-477e-982e-f4145bb0a83d" providerId="ADAL" clId="{3B14710D-300F-4D19-B4EA-1002A366550D}" dt="2017-08-02T11:28:43.459" v="5273" actId="478"/>
          <ac:picMkLst>
            <pc:docMk/>
            <pc:sldMk cId="3791138055" sldId="1520"/>
            <ac:picMk id="8" creationId="{21FA8CF5-5F61-4563-8BF4-FB8219C4FC5A}"/>
          </ac:picMkLst>
        </pc:picChg>
      </pc:sldChg>
      <pc:sldChg chg="modSp">
        <pc:chgData name="Ahmed Sabbour" userId="c4279823-a7c7-477e-982e-f4145bb0a83d" providerId="ADAL" clId="{3B14710D-300F-4D19-B4EA-1002A366550D}" dt="2017-08-07T10:17:28.863" v="10633" actId="20577"/>
        <pc:sldMkLst>
          <pc:docMk/>
          <pc:sldMk cId="895908902" sldId="1548"/>
        </pc:sldMkLst>
        <pc:spChg chg="mod">
          <ac:chgData name="Ahmed Sabbour" userId="c4279823-a7c7-477e-982e-f4145bb0a83d" providerId="ADAL" clId="{3B14710D-300F-4D19-B4EA-1002A366550D}" dt="2017-08-07T10:17:28.863" v="10633" actId="20577"/>
          <ac:spMkLst>
            <pc:docMk/>
            <pc:sldMk cId="895908902" sldId="1548"/>
            <ac:spMk id="6" creationId="{00000000-0000-0000-0000-000000000000}"/>
          </ac:spMkLst>
        </pc:spChg>
      </pc:sldChg>
      <pc:sldChg chg="modSp del">
        <pc:chgData name="Ahmed Sabbour" userId="c4279823-a7c7-477e-982e-f4145bb0a83d" providerId="ADAL" clId="{3B14710D-300F-4D19-B4EA-1002A366550D}" dt="2017-07-30T10:31:48.961" v="1859" actId="2696"/>
        <pc:sldMkLst>
          <pc:docMk/>
          <pc:sldMk cId="1212980481" sldId="1549"/>
        </pc:sldMkLst>
        <pc:spChg chg="mod">
          <ac:chgData name="Ahmed Sabbour" userId="c4279823-a7c7-477e-982e-f4145bb0a83d" providerId="ADAL" clId="{3B14710D-300F-4D19-B4EA-1002A366550D}" dt="2017-07-30T09:56:02.422" v="829" actId="20577"/>
          <ac:spMkLst>
            <pc:docMk/>
            <pc:sldMk cId="1212980481" sldId="1549"/>
            <ac:spMk id="3" creationId="{D2B94EA5-EB76-4458-B7A2-132E41E80B7F}"/>
          </ac:spMkLst>
        </pc:spChg>
      </pc:sldChg>
      <pc:sldChg chg="del">
        <pc:chgData name="Ahmed Sabbour" userId="c4279823-a7c7-477e-982e-f4145bb0a83d" providerId="ADAL" clId="{3B14710D-300F-4D19-B4EA-1002A366550D}" dt="2017-07-30T09:15:45.690" v="236" actId="2696"/>
        <pc:sldMkLst>
          <pc:docMk/>
          <pc:sldMk cId="4087735819" sldId="1550"/>
        </pc:sldMkLst>
      </pc:sldChg>
      <pc:sldChg chg="modSp del">
        <pc:chgData name="Ahmed Sabbour" userId="c4279823-a7c7-477e-982e-f4145bb0a83d" providerId="ADAL" clId="{3B14710D-300F-4D19-B4EA-1002A366550D}" dt="2017-07-30T10:31:46.425" v="1858" actId="2696"/>
        <pc:sldMkLst>
          <pc:docMk/>
          <pc:sldMk cId="3597983504" sldId="1551"/>
        </pc:sldMkLst>
        <pc:spChg chg="mod">
          <ac:chgData name="Ahmed Sabbour" userId="c4279823-a7c7-477e-982e-f4145bb0a83d" providerId="ADAL" clId="{3B14710D-300F-4D19-B4EA-1002A366550D}" dt="2017-07-30T10:01:31.886" v="886" actId="20577"/>
          <ac:spMkLst>
            <pc:docMk/>
            <pc:sldMk cId="3597983504" sldId="1551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2T11:15:06.278" v="4878" actId="2696"/>
        <pc:sldMkLst>
          <pc:docMk/>
          <pc:sldMk cId="2544145910" sldId="1552"/>
        </pc:sldMkLst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2" creationId="{BF582027-12F8-4674-81A9-62C3162B70E6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2" creationId="{11E567D8-C8A1-4548-9BDC-A0AB9FA021AC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3" creationId="{C2FDAC3D-2D2C-43E8-BC5A-6A5760E94931}"/>
          </ac:spMkLst>
        </pc:spChg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3" creationId="{B69CCDF7-08C3-4B95-AE4D-83A0B9C74E27}"/>
          </ac:spMkLst>
        </pc:spChg>
        <pc:spChg chg="add mod">
          <ac:chgData name="Ahmed Sabbour" userId="c4279823-a7c7-477e-982e-f4145bb0a83d" providerId="ADAL" clId="{3B14710D-300F-4D19-B4EA-1002A366550D}" dt="2017-07-30T09:08:28.779" v="2" actId="2696"/>
          <ac:spMkLst>
            <pc:docMk/>
            <pc:sldMk cId="2544145910" sldId="1552"/>
            <ac:spMk id="4" creationId="{DC777C22-C9DB-4199-A360-75BA924357FD}"/>
          </ac:spMkLst>
        </pc:spChg>
        <pc:spChg chg="add mod">
          <ac:chgData name="Ahmed Sabbour" userId="c4279823-a7c7-477e-982e-f4145bb0a83d" providerId="ADAL" clId="{3B14710D-300F-4D19-B4EA-1002A366550D}" dt="2017-07-30T10:31:40.071" v="1857" actId="20577"/>
          <ac:spMkLst>
            <pc:docMk/>
            <pc:sldMk cId="2544145910" sldId="1552"/>
            <ac:spMk id="5" creationId="{60618AFA-75E3-43B7-9611-5B543E1A4879}"/>
          </ac:spMkLst>
        </pc:spChg>
      </pc:sldChg>
      <pc:sldChg chg="addSp delSp modSp add">
        <pc:chgData name="Ahmed Sabbour" userId="c4279823-a7c7-477e-982e-f4145bb0a83d" providerId="ADAL" clId="{3B14710D-300F-4D19-B4EA-1002A366550D}" dt="2017-07-30T10:28:44.202" v="1781" actId="20577"/>
        <pc:sldMkLst>
          <pc:docMk/>
          <pc:sldMk cId="2588425227" sldId="1553"/>
        </pc:sldMkLst>
        <pc:spChg chg="mod">
          <ac:chgData name="Ahmed Sabbour" userId="c4279823-a7c7-477e-982e-f4145bb0a83d" providerId="ADAL" clId="{3B14710D-300F-4D19-B4EA-1002A366550D}" dt="2017-07-30T09:13:35.443" v="51" actId="20577"/>
          <ac:spMkLst>
            <pc:docMk/>
            <pc:sldMk cId="2588425227" sldId="1553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7-30T10:28:44.202" v="1781" actId="20577"/>
          <ac:spMkLst>
            <pc:docMk/>
            <pc:sldMk cId="2588425227" sldId="1553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7-30T10:15:09.493" v="1585" actId="20577"/>
          <ac:spMkLst>
            <pc:docMk/>
            <pc:sldMk cId="2588425227" sldId="1553"/>
            <ac:spMk id="4" creationId="{1D50C0C7-7573-471E-97E4-60E6C3CC3673}"/>
          </ac:spMkLst>
        </pc:spChg>
        <pc:spChg chg="add del">
          <ac:chgData name="Ahmed Sabbour" userId="c4279823-a7c7-477e-982e-f4145bb0a83d" providerId="ADAL" clId="{3B14710D-300F-4D19-B4EA-1002A366550D}" dt="2017-07-30T10:15:13.290" v="1587" actId="20577"/>
          <ac:spMkLst>
            <pc:docMk/>
            <pc:sldMk cId="2588425227" sldId="1553"/>
            <ac:spMk id="5" creationId="{7987B8C9-EA19-499E-BD62-9E67D2D8289A}"/>
          </ac:spMkLst>
        </pc:spChg>
      </pc:sldChg>
      <pc:sldChg chg="modSp add">
        <pc:chgData name="Ahmed Sabbour" userId="c4279823-a7c7-477e-982e-f4145bb0a83d" providerId="ADAL" clId="{3B14710D-300F-4D19-B4EA-1002A366550D}" dt="2017-08-07T10:52:59.407" v="10954" actId="13926"/>
        <pc:sldMkLst>
          <pc:docMk/>
          <pc:sldMk cId="3817861014" sldId="1554"/>
        </pc:sldMkLst>
        <pc:spChg chg="mod">
          <ac:chgData name="Ahmed Sabbour" userId="c4279823-a7c7-477e-982e-f4145bb0a83d" providerId="ADAL" clId="{3B14710D-300F-4D19-B4EA-1002A366550D}" dt="2017-07-30T09:20:07.131" v="322" actId="20577"/>
          <ac:spMkLst>
            <pc:docMk/>
            <pc:sldMk cId="3817861014" sldId="155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2:59.407" v="10954" actId="13926"/>
          <ac:spMkLst>
            <pc:docMk/>
            <pc:sldMk cId="3817861014" sldId="1554"/>
            <ac:spMk id="3" creationId="{D2B94EA5-EB76-4458-B7A2-132E41E80B7F}"/>
          </ac:spMkLst>
        </pc:spChg>
      </pc:sldChg>
      <pc:sldChg chg="add del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3160771475" sldId="1555"/>
        </pc:sldMkLst>
      </pc:sldChg>
      <pc:sldChg chg="add del">
        <pc:chgData name="Ahmed Sabbour" userId="c4279823-a7c7-477e-982e-f4145bb0a83d" providerId="ADAL" clId="{3B14710D-300F-4D19-B4EA-1002A366550D}" dt="2017-07-30T09:20:18.418" v="327" actId="2696"/>
        <pc:sldMkLst>
          <pc:docMk/>
          <pc:sldMk cId="3621211150" sldId="1555"/>
        </pc:sldMkLst>
      </pc:sldChg>
      <pc:sldChg chg="add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703794965" sldId="1556"/>
        </pc:sldMkLst>
      </pc:sldChg>
      <pc:sldChg chg="modSp add">
        <pc:chgData name="Ahmed Sabbour" userId="c4279823-a7c7-477e-982e-f4145bb0a83d" providerId="ADAL" clId="{3B14710D-300F-4D19-B4EA-1002A366550D}" dt="2017-08-09T13:08:39.925" v="18756" actId="20577"/>
        <pc:sldMkLst>
          <pc:docMk/>
          <pc:sldMk cId="2066942112" sldId="1557"/>
        </pc:sldMkLst>
        <pc:spChg chg="mod">
          <ac:chgData name="Ahmed Sabbour" userId="c4279823-a7c7-477e-982e-f4145bb0a83d" providerId="ADAL" clId="{3B14710D-300F-4D19-B4EA-1002A366550D}" dt="2017-07-30T09:57:50.001" v="854" actId="20577"/>
          <ac:spMkLst>
            <pc:docMk/>
            <pc:sldMk cId="2066942112" sldId="1557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13:08:39.925" v="18756" actId="20577"/>
          <ac:spMkLst>
            <pc:docMk/>
            <pc:sldMk cId="2066942112" sldId="1557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7-30T10:30:43.763" v="1823" actId="2696"/>
        <pc:sldMkLst>
          <pc:docMk/>
          <pc:sldMk cId="3312066927" sldId="1558"/>
        </pc:sldMkLst>
      </pc:sldChg>
      <pc:sldChg chg="addSp delSp modSp add del">
        <pc:chgData name="Ahmed Sabbour" userId="c4279823-a7c7-477e-982e-f4145bb0a83d" providerId="ADAL" clId="{3B14710D-300F-4D19-B4EA-1002A366550D}" dt="2017-08-07T04:30:35.997" v="6921" actId="2696"/>
        <pc:sldMkLst>
          <pc:docMk/>
          <pc:sldMk cId="831814464" sldId="1559"/>
        </pc:sldMkLst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2" creationId="{5BAF6FA9-F9E1-46FB-8BDE-DBEA957B3700}"/>
          </ac:spMkLst>
        </pc:spChg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3" creationId="{240FB0D0-53E7-439E-9FF0-050C9E772EC2}"/>
          </ac:spMkLst>
        </pc:spChg>
        <pc:spChg chg="add mod">
          <ac:chgData name="Ahmed Sabbour" userId="c4279823-a7c7-477e-982e-f4145bb0a83d" providerId="ADAL" clId="{3B14710D-300F-4D19-B4EA-1002A366550D}" dt="2017-07-30T10:56:23.935" v="1868" actId="20577"/>
          <ac:spMkLst>
            <pc:docMk/>
            <pc:sldMk cId="831814464" sldId="1559"/>
            <ac:spMk id="4" creationId="{53A41CD8-AFCB-474A-AAAD-7FFCBB87C342}"/>
          </ac:spMkLst>
        </pc:spChg>
        <pc:spChg chg="add mod">
          <ac:chgData name="Ahmed Sabbour" userId="c4279823-a7c7-477e-982e-f4145bb0a83d" providerId="ADAL" clId="{3B14710D-300F-4D19-B4EA-1002A366550D}" dt="2017-07-30T10:56:30.153" v="1882" actId="20577"/>
          <ac:spMkLst>
            <pc:docMk/>
            <pc:sldMk cId="831814464" sldId="1559"/>
            <ac:spMk id="5" creationId="{2A6C3B51-5375-484A-B932-7D84B2287761}"/>
          </ac:spMkLst>
        </pc:spChg>
        <pc:spChg chg="add mod">
          <ac:chgData name="Ahmed Sabbour" userId="c4279823-a7c7-477e-982e-f4145bb0a83d" providerId="ADAL" clId="{3B14710D-300F-4D19-B4EA-1002A366550D}" dt="2017-07-30T10:11:24.046" v="1270" actId="20577"/>
          <ac:spMkLst>
            <pc:docMk/>
            <pc:sldMk cId="831814464" sldId="1559"/>
            <ac:spMk id="6" creationId="{0032FA5D-F8B6-4E94-847A-5DAD504E9145}"/>
          </ac:spMkLst>
        </pc:spChg>
      </pc:sldChg>
      <pc:sldChg chg="modSp add del">
        <pc:chgData name="Ahmed Sabbour" userId="c4279823-a7c7-477e-982e-f4145bb0a83d" providerId="ADAL" clId="{3B14710D-300F-4D19-B4EA-1002A366550D}" dt="2017-08-07T04:31:23.876" v="6922" actId="2696"/>
        <pc:sldMkLst>
          <pc:docMk/>
          <pc:sldMk cId="847674525" sldId="1560"/>
        </pc:sldMkLst>
        <pc:spChg chg="mod">
          <ac:chgData name="Ahmed Sabbour" userId="c4279823-a7c7-477e-982e-f4145bb0a83d" providerId="ADAL" clId="{3B14710D-300F-4D19-B4EA-1002A366550D}" dt="2017-07-30T10:11:37.656" v="1300" actId="20577"/>
          <ac:spMkLst>
            <pc:docMk/>
            <pc:sldMk cId="847674525" sldId="1560"/>
            <ac:spMk id="4" creationId="{53A41CD8-AFCB-474A-AAAD-7FFCBB87C342}"/>
          </ac:spMkLst>
        </pc:spChg>
        <pc:spChg chg="mod">
          <ac:chgData name="Ahmed Sabbour" userId="c4279823-a7c7-477e-982e-f4145bb0a83d" providerId="ADAL" clId="{3B14710D-300F-4D19-B4EA-1002A366550D}" dt="2017-07-30T12:36:57.343" v="2348" actId="20577"/>
          <ac:spMkLst>
            <pc:docMk/>
            <pc:sldMk cId="847674525" sldId="1560"/>
            <ac:spMk id="5" creationId="{2A6C3B51-5375-484A-B932-7D84B2287761}"/>
          </ac:spMkLst>
        </pc:spChg>
      </pc:sldChg>
      <pc:sldChg chg="addSp delSp modSp add del">
        <pc:chgData name="Ahmed Sabbour" userId="c4279823-a7c7-477e-982e-f4145bb0a83d" providerId="ADAL" clId="{3B14710D-300F-4D19-B4EA-1002A366550D}" dt="2017-08-07T08:33:14.709" v="10458" actId="2696"/>
        <pc:sldMkLst>
          <pc:docMk/>
          <pc:sldMk cId="2857862455" sldId="1561"/>
        </pc:sldMkLst>
        <pc:spChg chg="add mod">
          <ac:chgData name="Ahmed Sabbour" userId="c4279823-a7c7-477e-982e-f4145bb0a83d" providerId="ADAL" clId="{3B14710D-300F-4D19-B4EA-1002A366550D}" dt="2017-07-30T11:24:19.314" v="1903" actId="20577"/>
          <ac:spMkLst>
            <pc:docMk/>
            <pc:sldMk cId="2857862455" sldId="1561"/>
            <ac:spMk id="2" creationId="{E3D1424F-267E-455B-8F95-41FA6C6D0240}"/>
          </ac:spMkLst>
        </pc:spChg>
        <pc:spChg chg="add mod">
          <ac:chgData name="Ahmed Sabbour" userId="c4279823-a7c7-477e-982e-f4145bb0a83d" providerId="ADAL" clId="{3B14710D-300F-4D19-B4EA-1002A366550D}" dt="2017-07-30T11:30:48.042" v="2188" actId="20577"/>
          <ac:spMkLst>
            <pc:docMk/>
            <pc:sldMk cId="2857862455" sldId="1561"/>
            <ac:spMk id="3" creationId="{97C84566-DB46-4520-A3BE-D915D7E671B2}"/>
          </ac:spMkLst>
        </pc:spChg>
        <pc:spChg chg="add del mod">
          <ac:chgData name="Ahmed Sabbour" userId="c4279823-a7c7-477e-982e-f4145bb0a83d" providerId="ADAL" clId="{3B14710D-300F-4D19-B4EA-1002A366550D}" dt="2017-07-30T11:30:00.868" v="2176" actId="478"/>
          <ac:spMkLst>
            <pc:docMk/>
            <pc:sldMk cId="2857862455" sldId="1561"/>
            <ac:spMk id="4" creationId="{9B55AFFA-D338-4FCC-80D6-ACC09D92A615}"/>
          </ac:spMkLst>
        </pc:spChg>
      </pc:sldChg>
      <pc:sldChg chg="add del">
        <pc:chgData name="Ahmed Sabbour" userId="c4279823-a7c7-477e-982e-f4145bb0a83d" providerId="ADAL" clId="{3B14710D-300F-4D19-B4EA-1002A366550D}" dt="2017-07-30T10:40:56.051" v="1861" actId="2696"/>
        <pc:sldMkLst>
          <pc:docMk/>
          <pc:sldMk cId="3062054787" sldId="1561"/>
        </pc:sldMkLst>
      </pc:sldChg>
      <pc:sldChg chg="modSp add del">
        <pc:chgData name="Ahmed Sabbour" userId="c4279823-a7c7-477e-982e-f4145bb0a83d" providerId="ADAL" clId="{3B14710D-300F-4D19-B4EA-1002A366550D}" dt="2017-08-03T11:11:01.618" v="6412" actId="2696"/>
        <pc:sldMkLst>
          <pc:docMk/>
          <pc:sldMk cId="2958274270" sldId="1562"/>
        </pc:sldMkLst>
        <pc:spChg chg="mod">
          <ac:chgData name="Ahmed Sabbour" userId="c4279823-a7c7-477e-982e-f4145bb0a83d" providerId="ADAL" clId="{3B14710D-300F-4D19-B4EA-1002A366550D}" dt="2017-07-30T11:32:41.829" v="2285" actId="20577"/>
          <ac:spMkLst>
            <pc:docMk/>
            <pc:sldMk cId="2958274270" sldId="1562"/>
            <ac:spMk id="2" creationId="{D17095CD-E766-4C67-BDE0-690566026BEE}"/>
          </ac:spMkLst>
        </pc:spChg>
        <pc:spChg chg="mod">
          <ac:chgData name="Ahmed Sabbour" userId="c4279823-a7c7-477e-982e-f4145bb0a83d" providerId="ADAL" clId="{3B14710D-300F-4D19-B4EA-1002A366550D}" dt="2017-07-30T11:27:29.932" v="2115" actId="20577"/>
          <ac:spMkLst>
            <pc:docMk/>
            <pc:sldMk cId="2958274270" sldId="1562"/>
            <ac:spMk id="4" creationId="{39BC7F84-4F2A-466B-BB44-7C997E081A0C}"/>
          </ac:spMkLst>
        </pc:spChg>
      </pc:sldChg>
      <pc:sldChg chg="delSp add ord modTransition delAnim modNotesTx">
        <pc:chgData name="Ahmed Sabbour" userId="c4279823-a7c7-477e-982e-f4145bb0a83d" providerId="ADAL" clId="{3B14710D-300F-4D19-B4EA-1002A366550D}" dt="2017-07-31T06:01:47.780" v="3436" actId="20577"/>
        <pc:sldMkLst>
          <pc:docMk/>
          <pc:sldMk cId="3433243809" sldId="1563"/>
        </pc:sldMkLst>
        <pc:spChg chg="del">
          <ac:chgData name="Ahmed Sabbour" userId="c4279823-a7c7-477e-982e-f4145bb0a83d" providerId="ADAL" clId="{3B14710D-300F-4D19-B4EA-1002A366550D}" dt="2017-07-31T06:01:27.275" v="3408" actId="478"/>
          <ac:spMkLst>
            <pc:docMk/>
            <pc:sldMk cId="3433243809" sldId="1563"/>
            <ac:spMk id="48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1:30.776" v="3409" actId="478"/>
          <ac:spMkLst>
            <pc:docMk/>
            <pc:sldMk cId="3433243809" sldId="1563"/>
            <ac:spMk id="100" creationId="{00000000-0000-0000-0000-000000000000}"/>
          </ac:spMkLst>
        </pc:spChg>
      </pc:sldChg>
      <pc:sldChg chg="addSp delSp modSp add ord modTransition modAnim modNotesTx">
        <pc:chgData name="Ahmed Sabbour" userId="c4279823-a7c7-477e-982e-f4145bb0a83d" providerId="ADAL" clId="{3B14710D-300F-4D19-B4EA-1002A366550D}" dt="2017-07-31T06:05:04.931" v="3581" actId="20577"/>
        <pc:sldMkLst>
          <pc:docMk/>
          <pc:sldMk cId="2589650822" sldId="1564"/>
        </pc:sldMkLst>
        <pc:spChg chg="del">
          <ac:chgData name="Ahmed Sabbour" userId="c4279823-a7c7-477e-982e-f4145bb0a83d" providerId="ADAL" clId="{3B14710D-300F-4D19-B4EA-1002A366550D}" dt="2017-07-31T06:03:34.677" v="3463" actId="478"/>
          <ac:spMkLst>
            <pc:docMk/>
            <pc:sldMk cId="2589650822" sldId="1564"/>
            <ac:spMk id="48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02:00.878" v="3455" actId="20577"/>
          <ac:spMkLst>
            <pc:docMk/>
            <pc:sldMk cId="2589650822" sldId="1564"/>
            <ac:spMk id="76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3:33.156" v="3462" actId="478"/>
          <ac:spMkLst>
            <pc:docMk/>
            <pc:sldMk cId="2589650822" sldId="1564"/>
            <ac:spMk id="100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7-31T06:02:55.711" v="3460" actId="1076"/>
          <ac:picMkLst>
            <pc:docMk/>
            <pc:sldMk cId="2589650822" sldId="1564"/>
            <ac:picMk id="3" creationId="{4BF81794-E72A-4AC1-905B-2A0C56F1DD5B}"/>
          </ac:picMkLst>
        </pc:picChg>
      </pc:sldChg>
      <pc:sldChg chg="modSp add ord modTransition">
        <pc:chgData name="Ahmed Sabbour" userId="c4279823-a7c7-477e-982e-f4145bb0a83d" providerId="ADAL" clId="{3B14710D-300F-4D19-B4EA-1002A366550D}" dt="2017-08-02T13:23:28.361" v="6009" actId="20577"/>
        <pc:sldMkLst>
          <pc:docMk/>
          <pc:sldMk cId="1921618050" sldId="1565"/>
        </pc:sldMkLst>
        <pc:spChg chg="mod">
          <ac:chgData name="Ahmed Sabbour" userId="c4279823-a7c7-477e-982e-f4145bb0a83d" providerId="ADAL" clId="{3B14710D-300F-4D19-B4EA-1002A366550D}" dt="2017-07-31T06:10:29.802" v="3611" actId="404"/>
          <ac:spMkLst>
            <pc:docMk/>
            <pc:sldMk cId="1921618050" sldId="1565"/>
            <ac:spMk id="6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11:22.977" v="3638" actId="3064"/>
          <ac:spMkLst>
            <pc:docMk/>
            <pc:sldMk cId="1921618050" sldId="1565"/>
            <ac:spMk id="91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3:23:28.361" v="6009" actId="20577"/>
          <ac:spMkLst>
            <pc:docMk/>
            <pc:sldMk cId="1921618050" sldId="1565"/>
            <ac:spMk id="106" creationId="{00000000-0000-0000-0000-000000000000}"/>
          </ac:spMkLst>
        </pc:spChg>
      </pc:sldChg>
      <pc:sldChg chg="modSp add">
        <pc:chgData name="Ahmed Sabbour" userId="c4279823-a7c7-477e-982e-f4145bb0a83d" providerId="ADAL" clId="{3B14710D-300F-4D19-B4EA-1002A366550D}" dt="2017-07-31T05:50:26.663" v="2405" actId="2696"/>
        <pc:sldMkLst>
          <pc:docMk/>
          <pc:sldMk cId="1190692700" sldId="1566"/>
        </pc:sldMkLst>
        <pc:spChg chg="mod">
          <ac:chgData name="Ahmed Sabbour" userId="c4279823-a7c7-477e-982e-f4145bb0a83d" providerId="ADAL" clId="{3B14710D-300F-4D19-B4EA-1002A366550D}" dt="2017-07-31T05:50:26.663" v="2405" actId="2696"/>
          <ac:spMkLst>
            <pc:docMk/>
            <pc:sldMk cId="1190692700" sldId="1566"/>
            <ac:spMk id="2" creationId="{CD871F22-8665-4F70-A5E1-500E39185D7A}"/>
          </ac:spMkLst>
        </pc:spChg>
        <pc:spChg chg="mod">
          <ac:chgData name="Ahmed Sabbour" userId="c4279823-a7c7-477e-982e-f4145bb0a83d" providerId="ADAL" clId="{3B14710D-300F-4D19-B4EA-1002A366550D}" dt="2017-07-31T05:50:18.042" v="2404" actId="20577"/>
          <ac:spMkLst>
            <pc:docMk/>
            <pc:sldMk cId="1190692700" sldId="1566"/>
            <ac:spMk id="4" creationId="{8E7EB68F-88AA-4685-AB14-068E8F5322A9}"/>
          </ac:spMkLst>
        </pc:spChg>
      </pc:sldChg>
      <pc:sldChg chg="addSp delSp modSp add del modTransition modNotesTx">
        <pc:chgData name="Ahmed Sabbour" userId="c4279823-a7c7-477e-982e-f4145bb0a83d" providerId="ADAL" clId="{3B14710D-300F-4D19-B4EA-1002A366550D}" dt="2017-07-31T07:27:15.084" v="4261" actId="2696"/>
        <pc:sldMkLst>
          <pc:docMk/>
          <pc:sldMk cId="3397901528" sldId="1567"/>
        </pc:sldMkLst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2" creationId="{7D9EA354-7BFB-4B34-B8B0-44C5059CAC3C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3" creationId="{6C1BDDAB-FD5C-448E-A062-48EB846B2D98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4" creationId="{AFA2C9DC-FF46-4667-BA7D-6466189F0A62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5" creationId="{362AF0E5-14FC-4F56-80B1-205DE461BD6C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6" creationId="{AEC2512B-824D-40B8-85E0-3B7B2B894BB1}"/>
          </ac:spMkLst>
        </pc:spChg>
        <pc:spChg chg="add mod">
          <ac:chgData name="Ahmed Sabbour" userId="c4279823-a7c7-477e-982e-f4145bb0a83d" providerId="ADAL" clId="{3B14710D-300F-4D19-B4EA-1002A366550D}" dt="2017-07-31T07:06:50.768" v="3679" actId="20577"/>
          <ac:spMkLst>
            <pc:docMk/>
            <pc:sldMk cId="3397901528" sldId="1567"/>
            <ac:spMk id="7" creationId="{114D8BCC-0046-4621-8CB2-DFDB3B444D37}"/>
          </ac:spMkLst>
        </pc:spChg>
        <pc:spChg chg="add mod">
          <ac:chgData name="Ahmed Sabbour" userId="c4279823-a7c7-477e-982e-f4145bb0a83d" providerId="ADAL" clId="{3B14710D-300F-4D19-B4EA-1002A366550D}" dt="2017-07-31T07:07:08.792" v="3722" actId="404"/>
          <ac:spMkLst>
            <pc:docMk/>
            <pc:sldMk cId="3397901528" sldId="1567"/>
            <ac:spMk id="8" creationId="{10D521E3-B654-44E8-995A-F338B99AFBC3}"/>
          </ac:spMkLst>
        </pc:spChg>
      </pc:sldChg>
      <pc:sldChg chg="addSp delSp modSp add ord modNotesTx">
        <pc:chgData name="Ahmed Sabbour" userId="c4279823-a7c7-477e-982e-f4145bb0a83d" providerId="ADAL" clId="{3B14710D-300F-4D19-B4EA-1002A366550D}" dt="2017-08-07T05:26:24.214" v="7480" actId="20577"/>
        <pc:sldMkLst>
          <pc:docMk/>
          <pc:sldMk cId="3312644183" sldId="1568"/>
        </pc:sldMkLst>
        <pc:spChg chg="add mod">
          <ac:chgData name="Ahmed Sabbour" userId="c4279823-a7c7-477e-982e-f4145bb0a83d" providerId="ADAL" clId="{3B14710D-300F-4D19-B4EA-1002A366550D}" dt="2017-08-07T05:26:24.214" v="7480" actId="20577"/>
          <ac:spMkLst>
            <pc:docMk/>
            <pc:sldMk cId="3312644183" sldId="1568"/>
            <ac:spMk id="2" creationId="{2CE6AEDA-EBFC-4F30-AF92-B1E3D5CC5C0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2" creationId="{20C46383-98CD-4625-99F3-32B5228DEF4C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3" creationId="{D277A552-23BC-43EF-B4A9-3DF1DF95C2E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4" creationId="{9999FEBC-5FD1-43D6-939C-E26D880D621A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5" creationId="{FE704149-2D68-4E02-8231-03F0DA25B4E0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6" creationId="{456F23EF-1561-476E-A07A-D2F7DA6FBE22}"/>
          </ac:spMkLst>
        </pc:spChg>
        <pc:spChg chg="add mod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7" creationId="{270E7552-42FA-4E04-9A3C-E35AAFC7BA53}"/>
          </ac:spMkLst>
        </pc:spChg>
        <pc:spChg chg="add del mod">
          <ac:chgData name="Ahmed Sabbour" userId="c4279823-a7c7-477e-982e-f4145bb0a83d" providerId="ADAL" clId="{3B14710D-300F-4D19-B4EA-1002A366550D}" dt="2017-08-07T05:25:45.032" v="7470" actId="404"/>
          <ac:spMkLst>
            <pc:docMk/>
            <pc:sldMk cId="3312644183" sldId="1568"/>
            <ac:spMk id="8" creationId="{81B2F9BC-706F-4901-B031-24DFD2BDE02C}"/>
          </ac:spMkLst>
        </pc:spChg>
        <pc:spChg chg="add del mod">
          <ac:chgData name="Ahmed Sabbour" userId="c4279823-a7c7-477e-982e-f4145bb0a83d" providerId="ADAL" clId="{3B14710D-300F-4D19-B4EA-1002A366550D}" dt="2017-07-31T07:18:11.054" v="3960" actId="20577"/>
          <ac:spMkLst>
            <pc:docMk/>
            <pc:sldMk cId="3312644183" sldId="1568"/>
            <ac:spMk id="9" creationId="{59F86B40-F186-415C-AE8C-01B9FBDCDE1D}"/>
          </ac:spMkLst>
        </pc:spChg>
        <pc:spChg chg="add del">
          <ac:chgData name="Ahmed Sabbour" userId="c4279823-a7c7-477e-982e-f4145bb0a83d" providerId="ADAL" clId="{3B14710D-300F-4D19-B4EA-1002A366550D}" dt="2017-07-31T07:18:10.642" v="3959" actId="20577"/>
          <ac:spMkLst>
            <pc:docMk/>
            <pc:sldMk cId="3312644183" sldId="1568"/>
            <ac:spMk id="10" creationId="{569B135E-5893-4E49-9593-325D87B6E09B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9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4.802" v="7431" actId="26606"/>
          <ac:spMkLst>
            <pc:docMk/>
            <pc:sldMk cId="3312644183" sldId="1568"/>
            <ac:spMk id="2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3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4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5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40.203" v="7435" actId="26606"/>
          <ac:spMkLst>
            <pc:docMk/>
            <pc:sldMk cId="3312644183" sldId="1568"/>
            <ac:spMk id="2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0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1" creationId="{00000000-0000-0000-0000-000000000000}"/>
          </ac:spMkLst>
        </pc:spChg>
        <pc:picChg chg="add mod ord">
          <ac:chgData name="Ahmed Sabbour" userId="c4279823-a7c7-477e-982e-f4145bb0a83d" providerId="ADAL" clId="{3B14710D-300F-4D19-B4EA-1002A366550D}" dt="2017-08-07T05:02:51.676" v="7437" actId="26606"/>
          <ac:picMkLst>
            <pc:docMk/>
            <pc:sldMk cId="3312644183" sldId="1568"/>
            <ac:picMk id="12" creationId="{1A50D097-1A2B-4286-B4F7-1FD20206C3E0}"/>
          </ac:picMkLst>
        </pc:picChg>
        <pc:cxnChg chg="add del">
          <ac:chgData name="Ahmed Sabbour" userId="c4279823-a7c7-477e-982e-f4145bb0a83d" providerId="ADAL" clId="{3B14710D-300F-4D19-B4EA-1002A366550D}" dt="2017-08-07T05:02:40.203" v="7435" actId="26606"/>
          <ac:cxnSpMkLst>
            <pc:docMk/>
            <pc:sldMk cId="3312644183" sldId="1568"/>
            <ac:cxnSpMk id="28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7T07:09:35.889" v="8438" actId="20577"/>
        <pc:sldMkLst>
          <pc:docMk/>
          <pc:sldMk cId="3328283226" sldId="1569"/>
        </pc:sldMkLst>
        <pc:spChg chg="mod">
          <ac:chgData name="Ahmed Sabbour" userId="c4279823-a7c7-477e-982e-f4145bb0a83d" providerId="ADAL" clId="{3B14710D-300F-4D19-B4EA-1002A366550D}" dt="2017-07-31T07:21:11.003" v="3989" actId="20577"/>
          <ac:spMkLst>
            <pc:docMk/>
            <pc:sldMk cId="3328283226" sldId="1569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7:34:25.392" v="4335" actId="20577"/>
          <ac:spMkLst>
            <pc:docMk/>
            <pc:sldMk cId="3328283226" sldId="1569"/>
            <ac:spMk id="8" creationId="{81B2F9BC-706F-4901-B031-24DFD2BDE02C}"/>
          </ac:spMkLst>
        </pc:spChg>
        <pc:grpChg chg="add del mod">
          <ac:chgData name="Ahmed Sabbour" userId="c4279823-a7c7-477e-982e-f4145bb0a83d" providerId="ADAL" clId="{3B14710D-300F-4D19-B4EA-1002A366550D}" dt="2017-07-31T07:21:51.586" v="4011" actId="20577"/>
          <ac:grpSpMkLst>
            <pc:docMk/>
            <pc:sldMk cId="3328283226" sldId="1569"/>
            <ac:grpSpMk id="6" creationId="{BDBAD3A3-67B3-4756-9A56-A81CD1926BFD}"/>
          </ac:grpSpMkLst>
        </pc:grpChg>
        <pc:grpChg chg="add">
          <ac:chgData name="Ahmed Sabbour" userId="c4279823-a7c7-477e-982e-f4145bb0a83d" providerId="ADAL" clId="{3B14710D-300F-4D19-B4EA-1002A366550D}" dt="2017-07-31T07:21:52.945" v="4013" actId="20577"/>
          <ac:grpSpMkLst>
            <pc:docMk/>
            <pc:sldMk cId="3328283226" sldId="1569"/>
            <ac:grpSpMk id="19" creationId="{95FC40EB-D3DA-4D92-B716-74996A18F0DD}"/>
          </ac:grpSpMkLst>
        </pc:grpChg>
        <pc:picChg chg="add del">
          <ac:chgData name="Ahmed Sabbour" userId="c4279823-a7c7-477e-982e-f4145bb0a83d" providerId="ADAL" clId="{3B14710D-300F-4D19-B4EA-1002A366550D}" dt="2017-07-31T07:22:02.231" v="4014" actId="20577"/>
          <ac:picMkLst>
            <pc:docMk/>
            <pc:sldMk cId="3328283226" sldId="1569"/>
            <ac:picMk id="5" creationId="{C4CB8EF0-34F3-4A9B-B4C4-B75979230A9E}"/>
          </ac:picMkLst>
        </pc:picChg>
        <pc:picChg chg="del">
          <ac:chgData name="Ahmed Sabbour" userId="c4279823-a7c7-477e-982e-f4145bb0a83d" providerId="ADAL" clId="{3B14710D-300F-4D19-B4EA-1002A366550D}" dt="2017-07-31T07:21:52.651" v="4012" actId="478"/>
          <ac:picMkLst>
            <pc:docMk/>
            <pc:sldMk cId="3328283226" sldId="1569"/>
            <ac:picMk id="12" creationId="{1A50D097-1A2B-4286-B4F7-1FD20206C3E0}"/>
          </ac:picMkLst>
        </pc:picChg>
        <pc:picChg chg="add del">
          <ac:chgData name="Ahmed Sabbour" userId="c4279823-a7c7-477e-982e-f4145bb0a83d" providerId="ADAL" clId="{3B14710D-300F-4D19-B4EA-1002A366550D}" dt="2017-07-31T07:22:26.548" v="4022" actId="20577"/>
          <ac:picMkLst>
            <pc:docMk/>
            <pc:sldMk cId="3328283226" sldId="1569"/>
            <ac:picMk id="18" creationId="{06426125-44C5-4899-9094-8D182AD922EA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7T05:00:53.974" v="7424" actId="6549"/>
        <pc:sldMkLst>
          <pc:docMk/>
          <pc:sldMk cId="1528709606" sldId="1570"/>
        </pc:sldMkLst>
        <pc:spChg chg="mod">
          <ac:chgData name="Ahmed Sabbour" userId="c4279823-a7c7-477e-982e-f4145bb0a83d" providerId="ADAL" clId="{3B14710D-300F-4D19-B4EA-1002A366550D}" dt="2017-08-03T10:05:08.504" v="6062" actId="20577"/>
          <ac:spMkLst>
            <pc:docMk/>
            <pc:sldMk cId="1528709606" sldId="1570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8-03T10:05:18.688" v="6086" actId="20577"/>
          <ac:spMkLst>
            <pc:docMk/>
            <pc:sldMk cId="1528709606" sldId="1570"/>
            <ac:spMk id="8" creationId="{81B2F9BC-706F-4901-B031-24DFD2BDE02C}"/>
          </ac:spMkLst>
        </pc:spChg>
        <pc:picChg chg="add mod">
          <ac:chgData name="Ahmed Sabbour" userId="c4279823-a7c7-477e-982e-f4145bb0a83d" providerId="ADAL" clId="{3B14710D-300F-4D19-B4EA-1002A366550D}" dt="2017-07-31T07:22:20.747" v="4021" actId="14100"/>
          <ac:picMkLst>
            <pc:docMk/>
            <pc:sldMk cId="1528709606" sldId="1570"/>
            <ac:picMk id="5" creationId="{7306ADAA-73A4-4CD8-97D1-966AA6132266}"/>
          </ac:picMkLst>
        </pc:picChg>
        <pc:picChg chg="add del">
          <ac:chgData name="Ahmed Sabbour" userId="c4279823-a7c7-477e-982e-f4145bb0a83d" providerId="ADAL" clId="{3B14710D-300F-4D19-B4EA-1002A366550D}" dt="2017-07-31T07:22:43.976" v="4026" actId="20577"/>
          <ac:picMkLst>
            <pc:docMk/>
            <pc:sldMk cId="1528709606" sldId="1570"/>
            <ac:picMk id="6" creationId="{3B1F57E4-A2FE-4888-8B73-A1C594B2C355}"/>
          </ac:picMkLst>
        </pc:picChg>
        <pc:picChg chg="del">
          <ac:chgData name="Ahmed Sabbour" userId="c4279823-a7c7-477e-982e-f4145bb0a83d" providerId="ADAL" clId="{3B14710D-300F-4D19-B4EA-1002A366550D}" dt="2017-07-31T07:22:16.283" v="4020" actId="478"/>
          <ac:picMkLst>
            <pc:docMk/>
            <pc:sldMk cId="1528709606" sldId="1570"/>
            <ac:picMk id="12" creationId="{1A50D097-1A2B-4286-B4F7-1FD20206C3E0}"/>
          </ac:picMkLst>
        </pc:picChg>
      </pc:sldChg>
      <pc:sldChg chg="addSp delSp modSp add del">
        <pc:chgData name="Ahmed Sabbour" userId="c4279823-a7c7-477e-982e-f4145bb0a83d" providerId="ADAL" clId="{3B14710D-300F-4D19-B4EA-1002A366550D}" dt="2017-07-31T07:23:00.639" v="4037" actId="2696"/>
        <pc:sldMkLst>
          <pc:docMk/>
          <pc:sldMk cId="3482871186" sldId="1571"/>
        </pc:sldMkLst>
        <pc:picChg chg="del">
          <ac:chgData name="Ahmed Sabbour" userId="c4279823-a7c7-477e-982e-f4145bb0a83d" providerId="ADAL" clId="{3B14710D-300F-4D19-B4EA-1002A366550D}" dt="2017-07-31T07:22:57.219" v="4036" actId="478"/>
          <ac:picMkLst>
            <pc:docMk/>
            <pc:sldMk cId="3482871186" sldId="1571"/>
            <ac:picMk id="5" creationId="{7306ADAA-73A4-4CD8-97D1-966AA6132266}"/>
          </ac:picMkLst>
        </pc:picChg>
        <pc:picChg chg="add mod">
          <ac:chgData name="Ahmed Sabbour" userId="c4279823-a7c7-477e-982e-f4145bb0a83d" providerId="ADAL" clId="{3B14710D-300F-4D19-B4EA-1002A366550D}" dt="2017-07-31T07:22:53.954" v="4035" actId="14100"/>
          <ac:picMkLst>
            <pc:docMk/>
            <pc:sldMk cId="3482871186" sldId="1571"/>
            <ac:picMk id="6" creationId="{8A643E31-FE54-422B-B41E-6E981C6F0827}"/>
          </ac:picMkLst>
        </pc:picChg>
      </pc:sldChg>
      <pc:sldChg chg="modSp add ord modNotesTx">
        <pc:chgData name="Ahmed Sabbour" userId="c4279823-a7c7-477e-982e-f4145bb0a83d" providerId="ADAL" clId="{3B14710D-300F-4D19-B4EA-1002A366550D}" dt="2017-08-07T09:27:45.744" v="10477" actId="6549"/>
        <pc:sldMkLst>
          <pc:docMk/>
          <pc:sldMk cId="3830213782" sldId="1571"/>
        </pc:sldMkLst>
        <pc:spChg chg="mod">
          <ac:chgData name="Ahmed Sabbour" userId="c4279823-a7c7-477e-982e-f4145bb0a83d" providerId="ADAL" clId="{3B14710D-300F-4D19-B4EA-1002A366550D}" dt="2017-07-31T07:23:07.546" v="4055" actId="20577"/>
          <ac:spMkLst>
            <pc:docMk/>
            <pc:sldMk cId="3830213782" sldId="1571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8:51:58.070" v="4550" actId="20577"/>
          <ac:spMkLst>
            <pc:docMk/>
            <pc:sldMk cId="3830213782" sldId="1571"/>
            <ac:spMk id="8" creationId="{81B2F9BC-706F-4901-B031-24DFD2BDE02C}"/>
          </ac:spMkLst>
        </pc:spChg>
      </pc:sldChg>
      <pc:sldChg chg="modSp add del modNotesTx">
        <pc:chgData name="Ahmed Sabbour" userId="c4279823-a7c7-477e-982e-f4145bb0a83d" providerId="ADAL" clId="{3B14710D-300F-4D19-B4EA-1002A366550D}" dt="2017-08-07T11:09:21.319" v="11201" actId="20577"/>
        <pc:sldMkLst>
          <pc:docMk/>
          <pc:sldMk cId="2976848698" sldId="1572"/>
        </pc:sldMkLst>
        <pc:spChg chg="mod">
          <ac:chgData name="Ahmed Sabbour" userId="c4279823-a7c7-477e-982e-f4145bb0a83d" providerId="ADAL" clId="{3B14710D-300F-4D19-B4EA-1002A366550D}" dt="2017-07-31T07:24:10.559" v="4119" actId="20577"/>
          <ac:spMkLst>
            <pc:docMk/>
            <pc:sldMk cId="2976848698" sldId="157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1:09:21.319" v="11201" actId="20577"/>
          <ac:spMkLst>
            <pc:docMk/>
            <pc:sldMk cId="2976848698" sldId="1572"/>
            <ac:spMk id="3" creationId="{D2B94EA5-EB76-4458-B7A2-132E41E80B7F}"/>
          </ac:spMkLst>
        </pc:spChg>
      </pc:sldChg>
      <pc:sldChg chg="addSp delSp modSp add del">
        <pc:chgData name="Ahmed Sabbour" userId="c4279823-a7c7-477e-982e-f4145bb0a83d" providerId="ADAL" clId="{3B14710D-300F-4D19-B4EA-1002A366550D}" dt="2017-07-31T07:27:54.832" v="4268" actId="2696"/>
        <pc:sldMkLst>
          <pc:docMk/>
          <pc:sldMk cId="1656655849" sldId="1573"/>
        </pc:sldMkLst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2" creationId="{02A34E31-7F8E-45A3-8519-E6F10767B9C7}"/>
          </ac:spMkLst>
        </pc:spChg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3" creationId="{1A9000F4-6D8D-4655-A713-C2D040CD4AD6}"/>
          </ac:spMkLst>
        </pc:spChg>
        <pc:spChg chg="add mod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4" creationId="{D0257C3A-8A44-441C-B331-9BE91D0BAA27}"/>
          </ac:spMkLst>
        </pc:spChg>
        <pc:spChg chg="add mod">
          <ac:chgData name="Ahmed Sabbour" userId="c4279823-a7c7-477e-982e-f4145bb0a83d" providerId="ADAL" clId="{3B14710D-300F-4D19-B4EA-1002A366550D}" dt="2017-07-31T07:27:45.210" v="4267" actId="20577"/>
          <ac:spMkLst>
            <pc:docMk/>
            <pc:sldMk cId="1656655849" sldId="1573"/>
            <ac:spMk id="5" creationId="{F18A455A-9871-4837-8706-0148B223E16C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5:34:01.907" v="7565" actId="20577"/>
        <pc:sldMkLst>
          <pc:docMk/>
          <pc:sldMk cId="2285153255" sldId="1573"/>
        </pc:sldMkLst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2" creationId="{C1C055BD-C31E-407A-80F2-502CA72E27AF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3" creationId="{61257AAA-9546-4308-88AF-6ACC66AD28E5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4" creationId="{43C7FCBD-354D-4094-BC99-EB226F1414E7}"/>
          </ac:spMkLst>
        </pc:spChg>
        <pc:spChg chg="add mod">
          <ac:chgData name="Ahmed Sabbour" userId="c4279823-a7c7-477e-982e-f4145bb0a83d" providerId="ADAL" clId="{3B14710D-300F-4D19-B4EA-1002A366550D}" dt="2017-08-07T05:34:01.907" v="7565" actId="20577"/>
          <ac:spMkLst>
            <pc:docMk/>
            <pc:sldMk cId="2285153255" sldId="1573"/>
            <ac:spMk id="6" creationId="{8F3BF8F7-F920-4319-A81E-9B10F775E3A6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3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8-02T09:56:28.681" v="4607" actId="14100"/>
          <ac:picMkLst>
            <pc:docMk/>
            <pc:sldMk cId="2285153255" sldId="1573"/>
            <ac:picMk id="5" creationId="{5A7EEDB8-0374-44C8-A98E-FFEF5B97DF20}"/>
          </ac:picMkLst>
        </pc:picChg>
        <pc:cxnChg chg="add del">
          <ac:chgData name="Ahmed Sabbour" userId="c4279823-a7c7-477e-982e-f4145bb0a83d" providerId="ADAL" clId="{3B14710D-300F-4D19-B4EA-1002A366550D}" dt="2017-08-02T09:55:13.600" v="4599" actId="26606"/>
          <ac:cxnSpMkLst>
            <pc:docMk/>
            <pc:sldMk cId="2285153255" sldId="1573"/>
            <ac:cxnSpMk id="15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8T07:13:11.194" v="13306" actId="20577"/>
        <pc:sldMkLst>
          <pc:docMk/>
          <pc:sldMk cId="1683777212" sldId="1574"/>
        </pc:sldMkLst>
        <pc:spChg chg="mod">
          <ac:chgData name="Ahmed Sabbour" userId="c4279823-a7c7-477e-982e-f4145bb0a83d" providerId="ADAL" clId="{3B14710D-300F-4D19-B4EA-1002A366550D}" dt="2017-08-02T11:02:31.213" v="4687" actId="20577"/>
          <ac:spMkLst>
            <pc:docMk/>
            <pc:sldMk cId="1683777212" sldId="157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13:11.194" v="13306" actId="20577"/>
          <ac:spMkLst>
            <pc:docMk/>
            <pc:sldMk cId="1683777212" sldId="157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2T11:03:09.943" v="4714" actId="20577"/>
          <ac:spMkLst>
            <pc:docMk/>
            <pc:sldMk cId="1683777212" sldId="1574"/>
            <ac:spMk id="4" creationId="{0E173EFE-DEAD-4DF3-A613-B559ACAA8D75}"/>
          </ac:spMkLst>
        </pc:spChg>
      </pc:sldChg>
      <pc:sldChg chg="addSp delSp modSp add del setBg">
        <pc:chgData name="Ahmed Sabbour" userId="c4279823-a7c7-477e-982e-f4145bb0a83d" providerId="ADAL" clId="{3B14710D-300F-4D19-B4EA-1002A366550D}" dt="2017-08-02T11:33:55.231" v="5437" actId="2696"/>
        <pc:sldMkLst>
          <pc:docMk/>
          <pc:sldMk cId="382459371" sldId="1575"/>
        </pc:sldMkLst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2" creationId="{AD978DFA-2618-4ADC-8B6A-A5676081879A}"/>
          </ac:spMkLst>
        </pc:spChg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3" creationId="{BAFB6F05-F2D8-4528-9546-ABE8A98DAAD2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0" creationId="{00000000-0000-0000-0000-000000000000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2" creationId="{00000000-0000-0000-0000-000000000000}"/>
          </ac:spMkLst>
        </pc:spChg>
        <pc:picChg chg="add del">
          <ac:chgData name="Ahmed Sabbour" userId="c4279823-a7c7-477e-982e-f4145bb0a83d" providerId="ADAL" clId="{3B14710D-300F-4D19-B4EA-1002A366550D}" dt="2017-08-02T11:30:20.198" v="5276" actId="478"/>
          <ac:picMkLst>
            <pc:docMk/>
            <pc:sldMk cId="382459371" sldId="1575"/>
            <ac:picMk id="4" creationId="{C05A1EAD-E0E8-4671-9605-17ECC51C749D}"/>
          </ac:picMkLst>
        </pc:picChg>
        <pc:picChg chg="add del mod ord">
          <ac:chgData name="Ahmed Sabbour" userId="c4279823-a7c7-477e-982e-f4145bb0a83d" providerId="ADAL" clId="{3B14710D-300F-4D19-B4EA-1002A366550D}" dt="2017-08-02T11:30:35.535" v="5282" actId="478"/>
          <ac:picMkLst>
            <pc:docMk/>
            <pc:sldMk cId="382459371" sldId="1575"/>
            <ac:picMk id="5" creationId="{8EB96B0F-0174-428F-924F-6F238049A755}"/>
          </ac:picMkLst>
        </pc:picChg>
        <pc:picChg chg="add mod">
          <ac:chgData name="Ahmed Sabbour" userId="c4279823-a7c7-477e-982e-f4145bb0a83d" providerId="ADAL" clId="{3B14710D-300F-4D19-B4EA-1002A366550D}" dt="2017-08-02T11:32:26.834" v="5330" actId="2696"/>
          <ac:picMkLst>
            <pc:docMk/>
            <pc:sldMk cId="382459371" sldId="1575"/>
            <ac:picMk id="6" creationId="{2A6640F6-E941-43CE-80F3-C0227D1035D0}"/>
          </ac:picMkLst>
        </pc:picChg>
        <pc:picChg chg="add mod">
          <ac:chgData name="Ahmed Sabbour" userId="c4279823-a7c7-477e-982e-f4145bb0a83d" providerId="ADAL" clId="{3B14710D-300F-4D19-B4EA-1002A366550D}" dt="2017-08-02T11:33:46.084" v="5436" actId="2696"/>
          <ac:picMkLst>
            <pc:docMk/>
            <pc:sldMk cId="382459371" sldId="1575"/>
            <ac:picMk id="8" creationId="{BE54B168-B772-475E-98D2-AAC0928606F5}"/>
          </ac:picMkLst>
        </pc:picChg>
      </pc:sldChg>
      <pc:sldChg chg="addSp delSp modSp add ord modNotesTx">
        <pc:chgData name="Ahmed Sabbour" userId="c4279823-a7c7-477e-982e-f4145bb0a83d" providerId="ADAL" clId="{3B14710D-300F-4D19-B4EA-1002A366550D}" dt="2017-08-07T06:51:03.877" v="8012" actId="108"/>
        <pc:sldMkLst>
          <pc:docMk/>
          <pc:sldMk cId="1965082908" sldId="1575"/>
        </pc:sldMkLst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2" creationId="{29A1E4E6-68C1-4204-80ED-F86062B23B08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3" creationId="{072A1A17-52A7-4956-ACDB-9A0C8D19F047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4" creationId="{13914992-513C-4162-ABE8-353DF98A7F28}"/>
          </ac:spMkLst>
        </pc:spChg>
        <pc:spChg chg="add mod">
          <ac:chgData name="Ahmed Sabbour" userId="c4279823-a7c7-477e-982e-f4145bb0a83d" providerId="ADAL" clId="{3B14710D-300F-4D19-B4EA-1002A366550D}" dt="2017-08-07T04:29:42.866" v="6920" actId="20577"/>
          <ac:spMkLst>
            <pc:docMk/>
            <pc:sldMk cId="1965082908" sldId="1575"/>
            <ac:spMk id="5" creationId="{731476EB-2F4F-472B-919E-91DF2238E5ED}"/>
          </ac:spMkLst>
        </pc:spChg>
        <pc:spChg chg="add mod">
          <ac:chgData name="Ahmed Sabbour" userId="c4279823-a7c7-477e-982e-f4145bb0a83d" providerId="ADAL" clId="{3B14710D-300F-4D19-B4EA-1002A366550D}" dt="2017-08-07T06:51:03.877" v="8012" actId="108"/>
          <ac:spMkLst>
            <pc:docMk/>
            <pc:sldMk cId="1965082908" sldId="1575"/>
            <ac:spMk id="6" creationId="{5477E456-D46C-4D29-8CF8-8410BFC5E306}"/>
          </ac:spMkLst>
        </pc:spChg>
      </pc:sldChg>
      <pc:sldChg chg="modSp add del ord">
        <pc:chgData name="Ahmed Sabbour" userId="c4279823-a7c7-477e-982e-f4145bb0a83d" providerId="ADAL" clId="{3B14710D-300F-4D19-B4EA-1002A366550D}" dt="2017-08-07T05:26:36.323" v="7481" actId="2696"/>
        <pc:sldMkLst>
          <pc:docMk/>
          <pc:sldMk cId="2150056964" sldId="1576"/>
        </pc:sldMkLst>
        <pc:spChg chg="mod">
          <ac:chgData name="Ahmed Sabbour" userId="c4279823-a7c7-477e-982e-f4145bb0a83d" providerId="ADAL" clId="{3B14710D-300F-4D19-B4EA-1002A366550D}" dt="2017-08-03T10:39:46.949" v="6269" actId="20577"/>
          <ac:spMkLst>
            <pc:docMk/>
            <pc:sldMk cId="2150056964" sldId="1576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3T10:40:02.549" v="6290" actId="20577"/>
          <ac:spMkLst>
            <pc:docMk/>
            <pc:sldMk cId="2150056964" sldId="1576"/>
            <ac:spMk id="6" creationId="{5477E456-D46C-4D29-8CF8-8410BFC5E306}"/>
          </ac:spMkLst>
        </pc:spChg>
      </pc:sldChg>
      <pc:sldChg chg="addSp modSp add ord setBg">
        <pc:chgData name="Ahmed Sabbour" userId="c4279823-a7c7-477e-982e-f4145bb0a83d" providerId="ADAL" clId="{3B14710D-300F-4D19-B4EA-1002A366550D}" dt="2017-08-08T07:28:24.039" v="13526" actId="14100"/>
        <pc:sldMkLst>
          <pc:docMk/>
          <pc:sldMk cId="1737164530" sldId="1577"/>
        </pc:sldMkLst>
        <pc:picChg chg="add mod">
          <ac:chgData name="Ahmed Sabbour" userId="c4279823-a7c7-477e-982e-f4145bb0a83d" providerId="ADAL" clId="{3B14710D-300F-4D19-B4EA-1002A366550D}" dt="2017-08-08T07:28:24.039" v="13526" actId="14100"/>
          <ac:picMkLst>
            <pc:docMk/>
            <pc:sldMk cId="1737164530" sldId="1577"/>
            <ac:picMk id="4" creationId="{4143B7FE-3E29-47A9-8991-83B34A66A9CC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8T07:28:32.945" v="13527" actId="1076"/>
        <pc:sldMkLst>
          <pc:docMk/>
          <pc:sldMk cId="1969162957" sldId="1578"/>
        </pc:sldMkLst>
        <pc:picChg chg="add del mod">
          <ac:chgData name="Ahmed Sabbour" userId="c4279823-a7c7-477e-982e-f4145bb0a83d" providerId="ADAL" clId="{3B14710D-300F-4D19-B4EA-1002A366550D}" dt="2017-08-08T07:25:50.921" v="13484" actId="478"/>
          <ac:picMkLst>
            <pc:docMk/>
            <pc:sldMk cId="1969162957" sldId="1578"/>
            <ac:picMk id="4" creationId="{593AEAAE-7311-4EBA-981F-FCEB71178C14}"/>
          </ac:picMkLst>
        </pc:picChg>
        <pc:picChg chg="add mod">
          <ac:chgData name="Ahmed Sabbour" userId="c4279823-a7c7-477e-982e-f4145bb0a83d" providerId="ADAL" clId="{3B14710D-300F-4D19-B4EA-1002A366550D}" dt="2017-08-08T07:28:32.945" v="13527" actId="1076"/>
          <ac:picMkLst>
            <pc:docMk/>
            <pc:sldMk cId="1969162957" sldId="1578"/>
            <ac:picMk id="5" creationId="{4A718D18-7CC6-493C-81FF-1611E6E8A5F8}"/>
          </ac:picMkLst>
        </pc:picChg>
      </pc:sldChg>
      <pc:sldChg chg="addSp modSp add ord">
        <pc:chgData name="Ahmed Sabbour" userId="c4279823-a7c7-477e-982e-f4145bb0a83d" providerId="ADAL" clId="{3B14710D-300F-4D19-B4EA-1002A366550D}" dt="2017-08-08T07:27:27.028" v="13518" actId="1037"/>
        <pc:sldMkLst>
          <pc:docMk/>
          <pc:sldMk cId="1242339391" sldId="1579"/>
        </pc:sldMkLst>
        <pc:picChg chg="add mod">
          <ac:chgData name="Ahmed Sabbour" userId="c4279823-a7c7-477e-982e-f4145bb0a83d" providerId="ADAL" clId="{3B14710D-300F-4D19-B4EA-1002A366550D}" dt="2017-08-08T07:27:27.028" v="13518" actId="1037"/>
          <ac:picMkLst>
            <pc:docMk/>
            <pc:sldMk cId="1242339391" sldId="1579"/>
            <ac:picMk id="4" creationId="{9BD41BF6-89F4-4BC2-A1C8-39AB966202FB}"/>
          </ac:picMkLst>
        </pc:picChg>
      </pc:sldChg>
      <pc:sldChg chg="addSp delSp modSp add">
        <pc:chgData name="Ahmed Sabbour" userId="c4279823-a7c7-477e-982e-f4145bb0a83d" providerId="ADAL" clId="{3B14710D-300F-4D19-B4EA-1002A366550D}" dt="2017-08-07T05:34:15.958" v="7567" actId="20577"/>
        <pc:sldMkLst>
          <pc:docMk/>
          <pc:sldMk cId="1258768950" sldId="1580"/>
        </pc:sldMkLst>
        <pc:spChg chg="del">
          <ac:chgData name="Ahmed Sabbour" userId="c4279823-a7c7-477e-982e-f4145bb0a83d" providerId="ADAL" clId="{3B14710D-300F-4D19-B4EA-1002A366550D}" dt="2017-08-07T05:33:32.836" v="7494" actId="20577"/>
          <ac:spMkLst>
            <pc:docMk/>
            <pc:sldMk cId="1258768950" sldId="1580"/>
            <ac:spMk id="2" creationId="{D9DECCD2-AD52-4F4A-918D-37FE6EC6CC22}"/>
          </ac:spMkLst>
        </pc:spChg>
        <pc:spChg chg="add mod">
          <ac:chgData name="Ahmed Sabbour" userId="c4279823-a7c7-477e-982e-f4145bb0a83d" providerId="ADAL" clId="{3B14710D-300F-4D19-B4EA-1002A366550D}" dt="2017-08-07T05:34:15.958" v="7567" actId="20577"/>
          <ac:spMkLst>
            <pc:docMk/>
            <pc:sldMk cId="1258768950" sldId="1580"/>
            <ac:spMk id="3" creationId="{7F69C1D4-2556-4D50-AF7D-73950FF30FB7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7T08:15:11.680" v="9597" actId="20577"/>
        <pc:sldMkLst>
          <pc:docMk/>
          <pc:sldMk cId="1578543305" sldId="1581"/>
        </pc:sldMkLst>
        <pc:spChg chg="del">
          <ac:chgData name="Ahmed Sabbour" userId="c4279823-a7c7-477e-982e-f4145bb0a83d" providerId="ADAL" clId="{3B14710D-300F-4D19-B4EA-1002A366550D}" dt="2017-08-07T05:34:42.696" v="7569" actId="20577"/>
          <ac:spMkLst>
            <pc:docMk/>
            <pc:sldMk cId="1578543305" sldId="1581"/>
            <ac:spMk id="2" creationId="{2345C291-9539-497E-8381-EFBD66FB1EC8}"/>
          </ac:spMkLst>
        </pc:spChg>
        <pc:spChg chg="add mod">
          <ac:chgData name="Ahmed Sabbour" userId="c4279823-a7c7-477e-982e-f4145bb0a83d" providerId="ADAL" clId="{3B14710D-300F-4D19-B4EA-1002A366550D}" dt="2017-08-07T05:34:50.801" v="7587" actId="20577"/>
          <ac:spMkLst>
            <pc:docMk/>
            <pc:sldMk cId="1578543305" sldId="1581"/>
            <ac:spMk id="3" creationId="{54D76A83-370F-471A-8905-994B0E0BC3B8}"/>
          </ac:spMkLst>
        </pc:spChg>
        <pc:spChg chg="add mod">
          <ac:chgData name="Ahmed Sabbour" userId="c4279823-a7c7-477e-982e-f4145bb0a83d" providerId="ADAL" clId="{3B14710D-300F-4D19-B4EA-1002A366550D}" dt="2017-08-07T08:15:11.680" v="9597" actId="20577"/>
          <ac:spMkLst>
            <pc:docMk/>
            <pc:sldMk cId="1578543305" sldId="1581"/>
            <ac:spMk id="4" creationId="{63E9C740-3914-4EEB-BD29-82FA820CC921}"/>
          </ac:spMkLst>
        </pc:spChg>
        <pc:spChg chg="add mod">
          <ac:chgData name="Ahmed Sabbour" userId="c4279823-a7c7-477e-982e-f4145bb0a83d" providerId="ADAL" clId="{3B14710D-300F-4D19-B4EA-1002A366550D}" dt="2017-08-07T05:37:35.818" v="7781" actId="20577"/>
          <ac:spMkLst>
            <pc:docMk/>
            <pc:sldMk cId="1578543305" sldId="1581"/>
            <ac:spMk id="5" creationId="{169F32E4-10F9-43DF-9D55-B2416BB483CF}"/>
          </ac:spMkLst>
        </pc:spChg>
      </pc:sldChg>
      <pc:sldChg chg="modSp add">
        <pc:chgData name="Ahmed Sabbour" userId="c4279823-a7c7-477e-982e-f4145bb0a83d" providerId="ADAL" clId="{3B14710D-300F-4D19-B4EA-1002A366550D}" dt="2017-08-07T05:40:06.086" v="7845" actId="20577"/>
        <pc:sldMkLst>
          <pc:docMk/>
          <pc:sldMk cId="1341294755" sldId="1582"/>
        </pc:sldMkLst>
        <pc:spChg chg="mod">
          <ac:chgData name="Ahmed Sabbour" userId="c4279823-a7c7-477e-982e-f4145bb0a83d" providerId="ADAL" clId="{3B14710D-300F-4D19-B4EA-1002A366550D}" dt="2017-08-07T05:40:06.086" v="7845" actId="20577"/>
          <ac:spMkLst>
            <pc:docMk/>
            <pc:sldMk cId="1341294755" sldId="158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5:39:55.183" v="7809" actId="6549"/>
        <pc:sldMkLst>
          <pc:docMk/>
          <pc:sldMk cId="2778952181" sldId="1582"/>
        </pc:sldMkLst>
      </pc:sldChg>
      <pc:sldChg chg="modSp add del modNotesTx">
        <pc:chgData name="Ahmed Sabbour" userId="c4279823-a7c7-477e-982e-f4145bb0a83d" providerId="ADAL" clId="{3B14710D-300F-4D19-B4EA-1002A366550D}" dt="2017-08-07T09:27:11.138" v="10475" actId="2696"/>
        <pc:sldMkLst>
          <pc:docMk/>
          <pc:sldMk cId="3543715488" sldId="1583"/>
        </pc:sldMkLst>
        <pc:spChg chg="mod">
          <ac:chgData name="Ahmed Sabbour" userId="c4279823-a7c7-477e-982e-f4145bb0a83d" providerId="ADAL" clId="{3B14710D-300F-4D19-B4EA-1002A366550D}" dt="2017-08-07T05:40:55.833" v="7850" actId="20577"/>
          <ac:spMkLst>
            <pc:docMk/>
            <pc:sldMk cId="3543715488" sldId="1583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7T05:41:03.615" v="7855" actId="20577"/>
          <ac:spMkLst>
            <pc:docMk/>
            <pc:sldMk cId="3543715488" sldId="1583"/>
            <ac:spMk id="6" creationId="{5477E456-D46C-4D29-8CF8-8410BFC5E306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17:22.960" v="15476" actId="20577"/>
        <pc:sldMkLst>
          <pc:docMk/>
          <pc:sldMk cId="3875828901" sldId="1584"/>
        </pc:sldMkLst>
        <pc:spChg chg="mod">
          <ac:chgData name="Ahmed Sabbour" userId="c4279823-a7c7-477e-982e-f4145bb0a83d" providerId="ADAL" clId="{3B14710D-300F-4D19-B4EA-1002A366550D}" dt="2017-08-07T07:06:54.818" v="8295" actId="20577"/>
          <ac:spMkLst>
            <pc:docMk/>
            <pc:sldMk cId="3875828901" sldId="158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7:17:22.960" v="15476" actId="20577"/>
          <ac:spMkLst>
            <pc:docMk/>
            <pc:sldMk cId="3875828901" sldId="1584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8T07:19:15.503" v="13451" actId="20577"/>
        <pc:sldMkLst>
          <pc:docMk/>
          <pc:sldMk cId="3437108457" sldId="1585"/>
        </pc:sldMkLst>
        <pc:spChg chg="mod">
          <ac:chgData name="Ahmed Sabbour" userId="c4279823-a7c7-477e-982e-f4145bb0a83d" providerId="ADAL" clId="{3B14710D-300F-4D19-B4EA-1002A366550D}" dt="2017-08-07T07:13:08.815" v="8551" actId="20577"/>
          <ac:spMkLst>
            <pc:docMk/>
            <pc:sldMk cId="3437108457" sldId="158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5:27.870" v="10991" actId="13926"/>
          <ac:spMkLst>
            <pc:docMk/>
            <pc:sldMk cId="3437108457" sldId="158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8:26:52.166" v="10312" actId="20577"/>
        <pc:sldMkLst>
          <pc:docMk/>
          <pc:sldMk cId="296224988" sldId="1586"/>
        </pc:sldMkLst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2" creationId="{D891B209-7352-4104-9AFB-8023E1E0220B}"/>
          </ac:spMkLst>
        </pc:spChg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3" creationId="{4B62FF1F-1A46-448E-A479-46C35E452A2B}"/>
          </ac:spMkLst>
        </pc:spChg>
        <pc:spChg chg="add mod">
          <ac:chgData name="Ahmed Sabbour" userId="c4279823-a7c7-477e-982e-f4145bb0a83d" providerId="ADAL" clId="{3B14710D-300F-4D19-B4EA-1002A366550D}" dt="2017-08-07T08:26:52.166" v="10312" actId="20577"/>
          <ac:spMkLst>
            <pc:docMk/>
            <pc:sldMk cId="296224988" sldId="1586"/>
            <ac:spMk id="4" creationId="{68ED5868-1F0F-4332-8412-F4AD463F6CB0}"/>
          </ac:spMkLst>
        </pc:spChg>
        <pc:spChg chg="add mod">
          <ac:chgData name="Ahmed Sabbour" userId="c4279823-a7c7-477e-982e-f4145bb0a83d" providerId="ADAL" clId="{3B14710D-300F-4D19-B4EA-1002A366550D}" dt="2017-08-07T08:17:33.079" v="9608" actId="20577"/>
          <ac:spMkLst>
            <pc:docMk/>
            <pc:sldMk cId="296224988" sldId="1586"/>
            <ac:spMk id="5" creationId="{34A53364-7253-4959-82CB-AE2F10CC6ABB}"/>
          </ac:spMkLst>
        </pc:spChg>
        <pc:spChg chg="add mod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6" creationId="{6E49A287-6D47-4FCF-AFD1-74ABCA0E4F7B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10T07:49:34.083" v="18886" actId="20577"/>
        <pc:sldMkLst>
          <pc:docMk/>
          <pc:sldMk cId="666337540" sldId="1587"/>
        </pc:sldMkLst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2" creationId="{DAE19B5F-7284-4A1A-8AEA-412788F14285}"/>
          </ac:spMkLst>
        </pc:spChg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3" creationId="{4433C491-ADAA-4605-8B04-141156448891}"/>
          </ac:spMkLst>
        </pc:spChg>
        <pc:spChg chg="add mod">
          <ac:chgData name="Ahmed Sabbour" userId="c4279823-a7c7-477e-982e-f4145bb0a83d" providerId="ADAL" clId="{3B14710D-300F-4D19-B4EA-1002A366550D}" dt="2017-08-07T08:20:09.462" v="9683" actId="20577"/>
          <ac:spMkLst>
            <pc:docMk/>
            <pc:sldMk cId="666337540" sldId="1587"/>
            <ac:spMk id="4" creationId="{564376E1-9A1A-41BC-A655-6E980CAF180A}"/>
          </ac:spMkLst>
        </pc:spChg>
        <pc:spChg chg="add mod">
          <ac:chgData name="Ahmed Sabbour" userId="c4279823-a7c7-477e-982e-f4145bb0a83d" providerId="ADAL" clId="{3B14710D-300F-4D19-B4EA-1002A366550D}" dt="2017-08-10T07:49:34.083" v="18886" actId="20577"/>
          <ac:spMkLst>
            <pc:docMk/>
            <pc:sldMk cId="666337540" sldId="1587"/>
            <ac:spMk id="5" creationId="{E28D86B5-1B67-46E3-8AB8-D9219A7DE616}"/>
          </ac:spMkLst>
        </pc:spChg>
      </pc:sldChg>
      <pc:sldChg chg="modSp add">
        <pc:chgData name="Ahmed Sabbour" userId="c4279823-a7c7-477e-982e-f4145bb0a83d" providerId="ADAL" clId="{3B14710D-300F-4D19-B4EA-1002A366550D}" dt="2017-08-07T08:33:15.387" v="10471" actId="20577"/>
        <pc:sldMkLst>
          <pc:docMk/>
          <pc:sldMk cId="425271446" sldId="1588"/>
        </pc:sldMkLst>
        <pc:spChg chg="mod">
          <ac:chgData name="Ahmed Sabbour" userId="c4279823-a7c7-477e-982e-f4145bb0a83d" providerId="ADAL" clId="{3B14710D-300F-4D19-B4EA-1002A366550D}" dt="2017-08-07T08:33:15.387" v="10471" actId="20577"/>
          <ac:spMkLst>
            <pc:docMk/>
            <pc:sldMk cId="425271446" sldId="1588"/>
            <ac:spMk id="5" creationId="{34A53364-7253-4959-82CB-AE2F10CC6ABB}"/>
          </ac:spMkLst>
        </pc:spChg>
      </pc:sldChg>
      <pc:sldChg chg="modSp add ord">
        <pc:chgData name="Ahmed Sabbour" userId="c4279823-a7c7-477e-982e-f4145bb0a83d" providerId="ADAL" clId="{3B14710D-300F-4D19-B4EA-1002A366550D}" dt="2017-08-08T07:19:36.413" v="13470" actId="20577"/>
        <pc:sldMkLst>
          <pc:docMk/>
          <pc:sldMk cId="1557054624" sldId="1589"/>
        </pc:sldMkLst>
        <pc:spChg chg="mod">
          <ac:chgData name="Ahmed Sabbour" userId="c4279823-a7c7-477e-982e-f4145bb0a83d" providerId="ADAL" clId="{3B14710D-300F-4D19-B4EA-1002A366550D}" dt="2017-08-08T07:19:36.413" v="13470" actId="20577"/>
          <ac:spMkLst>
            <pc:docMk/>
            <pc:sldMk cId="1557054624" sldId="1589"/>
            <ac:spMk id="5" creationId="{34A53364-7253-4959-82CB-AE2F10CC6ABB}"/>
          </ac:spMkLst>
        </pc:spChg>
      </pc:sldChg>
      <pc:sldChg chg="addSp delSp modSp add del ord modNotesTx">
        <pc:chgData name="Ahmed Sabbour" userId="c4279823-a7c7-477e-982e-f4145bb0a83d" providerId="ADAL" clId="{3B14710D-300F-4D19-B4EA-1002A366550D}" dt="2017-08-09T05:47:01.525" v="15454" actId="2696"/>
        <pc:sldMkLst>
          <pc:docMk/>
          <pc:sldMk cId="4081607903" sldId="1590"/>
        </pc:sldMkLst>
        <pc:spChg chg="mod">
          <ac:chgData name="Ahmed Sabbour" userId="c4279823-a7c7-477e-982e-f4145bb0a83d" providerId="ADAL" clId="{3B14710D-300F-4D19-B4EA-1002A366550D}" dt="2017-08-09T04:54:55.877" v="14908" actId="20577"/>
          <ac:spMkLst>
            <pc:docMk/>
            <pc:sldMk cId="4081607903" sldId="1590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9T04:56:35.601" v="14971" actId="478"/>
          <ac:spMkLst>
            <pc:docMk/>
            <pc:sldMk cId="4081607903" sldId="1590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09T04:56:42.936" v="14972" actId="478"/>
          <ac:spMkLst>
            <pc:docMk/>
            <pc:sldMk cId="4081607903" sldId="1590"/>
            <ac:spMk id="6" creationId="{51E19157-A655-4DCC-BE82-FACDA9EC7E46}"/>
          </ac:spMkLst>
        </pc:spChg>
        <pc:spChg chg="add mod">
          <ac:chgData name="Ahmed Sabbour" userId="c4279823-a7c7-477e-982e-f4145bb0a83d" providerId="ADAL" clId="{3B14710D-300F-4D19-B4EA-1002A366550D}" dt="2017-08-09T05:26:03.023" v="15302" actId="20577"/>
          <ac:spMkLst>
            <pc:docMk/>
            <pc:sldMk cId="4081607903" sldId="1590"/>
            <ac:spMk id="7" creationId="{98BF1759-F3D7-4D97-A1E9-500F62D5835F}"/>
          </ac:spMkLst>
        </pc:spChg>
        <pc:picChg chg="add del mod">
          <ac:chgData name="Ahmed Sabbour" userId="c4279823-a7c7-477e-982e-f4145bb0a83d" providerId="ADAL" clId="{3B14710D-300F-4D19-B4EA-1002A366550D}" dt="2017-08-08T09:25:38.150" v="13893" actId="478"/>
          <ac:picMkLst>
            <pc:docMk/>
            <pc:sldMk cId="4081607903" sldId="1590"/>
            <ac:picMk id="5" creationId="{0DD3EDE4-666E-482A-AE43-093829BEC967}"/>
          </ac:picMkLst>
        </pc:picChg>
      </pc:sldChg>
      <pc:sldChg chg="modSp add del ord modNotesTx">
        <pc:chgData name="Ahmed Sabbour" userId="c4279823-a7c7-477e-982e-f4145bb0a83d" providerId="ADAL" clId="{3B14710D-300F-4D19-B4EA-1002A366550D}" dt="2017-08-10T07:17:34.439" v="18803" actId="20577"/>
        <pc:sldMkLst>
          <pc:docMk/>
          <pc:sldMk cId="1485113436" sldId="1591"/>
        </pc:sldMkLst>
        <pc:spChg chg="mod">
          <ac:chgData name="Ahmed Sabbour" userId="c4279823-a7c7-477e-982e-f4145bb0a83d" providerId="ADAL" clId="{3B14710D-300F-4D19-B4EA-1002A366550D}" dt="2017-08-07T08:33:14.855" v="10462" actId="20577"/>
          <ac:spMkLst>
            <pc:docMk/>
            <pc:sldMk cId="1485113436" sldId="159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17:34.439" v="18803" actId="20577"/>
          <ac:spMkLst>
            <pc:docMk/>
            <pc:sldMk cId="1485113436" sldId="1591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8-07T08:31:11.167" v="10424" actId="6549"/>
        <pc:sldMkLst>
          <pc:docMk/>
          <pc:sldMk cId="1758576309" sldId="1592"/>
        </pc:sldMkLst>
      </pc:sldChg>
      <pc:sldChg chg="modSp add del">
        <pc:chgData name="Ahmed Sabbour" userId="c4279823-a7c7-477e-982e-f4145bb0a83d" providerId="ADAL" clId="{3B14710D-300F-4D19-B4EA-1002A366550D}" dt="2017-08-07T08:33:15.454" v="10473" actId="20577"/>
        <pc:sldMkLst>
          <pc:docMk/>
          <pc:sldMk cId="2420752384" sldId="1592"/>
        </pc:sldMkLst>
        <pc:spChg chg="mod">
          <ac:chgData name="Ahmed Sabbour" userId="c4279823-a7c7-477e-982e-f4145bb0a83d" providerId="ADAL" clId="{3B14710D-300F-4D19-B4EA-1002A366550D}" dt="2017-08-07T08:33:15.454" v="10473" actId="20577"/>
          <ac:spMkLst>
            <pc:docMk/>
            <pc:sldMk cId="2420752384" sldId="159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8:33:15.538" v="10474" actId="6549"/>
        <pc:sldMkLst>
          <pc:docMk/>
          <pc:sldMk cId="3106434679" sldId="1593"/>
        </pc:sldMkLst>
      </pc:sldChg>
      <pc:sldChg chg="addSp delSp modSp add del modNotesTx">
        <pc:chgData name="Ahmed Sabbour" userId="c4279823-a7c7-477e-982e-f4145bb0a83d" providerId="ADAL" clId="{3B14710D-300F-4D19-B4EA-1002A366550D}" dt="2017-08-08T06:22:41.505" v="12327" actId="2696"/>
        <pc:sldMkLst>
          <pc:docMk/>
          <pc:sldMk cId="284613954" sldId="1594"/>
        </pc:sldMkLst>
        <pc:spChg chg="mod">
          <ac:chgData name="Ahmed Sabbour" userId="c4279823-a7c7-477e-982e-f4145bb0a83d" providerId="ADAL" clId="{3B14710D-300F-4D19-B4EA-1002A366550D}" dt="2017-08-07T10:57:44.965" v="11084" actId="20577"/>
          <ac:spMkLst>
            <pc:docMk/>
            <pc:sldMk cId="284613954" sldId="159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3:13:55.142" v="11761" actId="113"/>
          <ac:spMkLst>
            <pc:docMk/>
            <pc:sldMk cId="284613954" sldId="159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7T10:49:37.196" v="10799" actId="113"/>
          <ac:spMkLst>
            <pc:docMk/>
            <pc:sldMk cId="284613954" sldId="1594"/>
            <ac:spMk id="4" creationId="{931BF6B5-F388-4A14-BACD-E3C4255039F0}"/>
          </ac:spMkLst>
        </pc:spChg>
      </pc:sldChg>
      <pc:sldChg chg="add del">
        <pc:chgData name="Ahmed Sabbour" userId="c4279823-a7c7-477e-982e-f4145bb0a83d" providerId="ADAL" clId="{3B14710D-300F-4D19-B4EA-1002A366550D}" dt="2017-08-07T09:30:26.131" v="10543" actId="6549"/>
        <pc:sldMkLst>
          <pc:docMk/>
          <pc:sldMk cId="3822219393" sldId="1594"/>
        </pc:sldMkLst>
      </pc:sldChg>
      <pc:sldChg chg="modSp add modTransition">
        <pc:chgData name="Ahmed Sabbour" userId="c4279823-a7c7-477e-982e-f4145bb0a83d" providerId="ADAL" clId="{3B14710D-300F-4D19-B4EA-1002A366550D}" dt="2017-08-08T07:02:14.948" v="12858" actId="20577"/>
        <pc:sldMkLst>
          <pc:docMk/>
          <pc:sldMk cId="2878271213" sldId="1595"/>
        </pc:sldMkLst>
        <pc:spChg chg="mod">
          <ac:chgData name="Ahmed Sabbour" userId="c4279823-a7c7-477e-982e-f4145bb0a83d" providerId="ADAL" clId="{3B14710D-300F-4D19-B4EA-1002A366550D}" dt="2017-08-08T06:22:29.854" v="12325" actId="20577"/>
          <ac:spMkLst>
            <pc:docMk/>
            <pc:sldMk cId="2878271213" sldId="159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02:14.948" v="12858" actId="20577"/>
          <ac:spMkLst>
            <pc:docMk/>
            <pc:sldMk cId="2878271213" sldId="159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08:19.377" v="16512" actId="14100"/>
        <pc:sldMkLst>
          <pc:docMk/>
          <pc:sldMk cId="1114846004" sldId="1596"/>
        </pc:sldMkLst>
        <pc:spChg chg="add del mod">
          <ac:chgData name="Ahmed Sabbour" userId="c4279823-a7c7-477e-982e-f4145bb0a83d" providerId="ADAL" clId="{3B14710D-300F-4D19-B4EA-1002A366550D}" dt="2017-08-07T11:21:40.823" v="11382" actId="1076"/>
          <ac:spMkLst>
            <pc:docMk/>
            <pc:sldMk cId="1114846004" sldId="1596"/>
            <ac:spMk id="3" creationId="{00000000-0000-0000-0000-000000000000}"/>
          </ac:spMkLst>
        </pc:spChg>
        <pc:spChg chg="add del mod">
          <ac:chgData name="Ahmed Sabbour" userId="c4279823-a7c7-477e-982e-f4145bb0a83d" providerId="ADAL" clId="{3B14710D-300F-4D19-B4EA-1002A366550D}" dt="2017-08-07T11:21:42.488" v="11383" actId="478"/>
          <ac:spMkLst>
            <pc:docMk/>
            <pc:sldMk cId="1114846004" sldId="1596"/>
            <ac:spMk id="4" creationId="{9F56DF6D-96ED-4AFB-A421-12A0C9652FC9}"/>
          </ac:spMkLst>
        </pc:spChg>
        <pc:spChg chg="add mod">
          <ac:chgData name="Ahmed Sabbour" userId="c4279823-a7c7-477e-982e-f4145bb0a83d" providerId="ADAL" clId="{3B14710D-300F-4D19-B4EA-1002A366550D}" dt="2017-08-09T12:08:19.377" v="16512" actId="14100"/>
          <ac:spMkLst>
            <pc:docMk/>
            <pc:sldMk cId="1114846004" sldId="1596"/>
            <ac:spMk id="5" creationId="{2701A7EF-6B1C-4B2E-BD0D-3F820A874246}"/>
          </ac:spMkLst>
        </pc:spChg>
      </pc:sldChg>
      <pc:sldChg chg="modSp add">
        <pc:chgData name="Ahmed Sabbour" userId="c4279823-a7c7-477e-982e-f4145bb0a83d" providerId="ADAL" clId="{3B14710D-300F-4D19-B4EA-1002A366550D}" dt="2017-08-09T12:08:43.803" v="16516" actId="20577"/>
        <pc:sldMkLst>
          <pc:docMk/>
          <pc:sldMk cId="1744049558" sldId="1597"/>
        </pc:sldMkLst>
        <pc:spChg chg="mod">
          <ac:chgData name="Ahmed Sabbour" userId="c4279823-a7c7-477e-982e-f4145bb0a83d" providerId="ADAL" clId="{3B14710D-300F-4D19-B4EA-1002A366550D}" dt="2017-08-09T12:08:43.803" v="16516" actId="20577"/>
          <ac:spMkLst>
            <pc:docMk/>
            <pc:sldMk cId="1744049558" sldId="1597"/>
            <ac:spMk id="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7T11:23:08.527" v="11404" actId="403"/>
          <ac:spMkLst>
            <pc:docMk/>
            <pc:sldMk cId="1744049558" sldId="1597"/>
            <ac:spMk id="4" creationId="{00000000-0000-0000-0000-000000000000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8T06:19:43.648" v="12286" actId="20577"/>
        <pc:sldMkLst>
          <pc:docMk/>
          <pc:sldMk cId="1085096104" sldId="1598"/>
        </pc:sldMkLst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2" creationId="{CE50C2E5-96A7-461C-B7BF-9EA570ABA6C4}"/>
          </ac:spMkLst>
        </pc:spChg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3" creationId="{C071E6A7-95DC-471E-AAA1-7D698296942D}"/>
          </ac:spMkLst>
        </pc:spChg>
        <pc:spChg chg="add mod">
          <ac:chgData name="Ahmed Sabbour" userId="c4279823-a7c7-477e-982e-f4145bb0a83d" providerId="ADAL" clId="{3B14710D-300F-4D19-B4EA-1002A366550D}" dt="2017-08-08T06:15:57.943" v="11977" actId="20577"/>
          <ac:spMkLst>
            <pc:docMk/>
            <pc:sldMk cId="1085096104" sldId="1598"/>
            <ac:spMk id="4" creationId="{7EEB3E79-427C-44F5-BE3E-637BFCE20C06}"/>
          </ac:spMkLst>
        </pc:spChg>
        <pc:spChg chg="add mod">
          <ac:chgData name="Ahmed Sabbour" userId="c4279823-a7c7-477e-982e-f4145bb0a83d" providerId="ADAL" clId="{3B14710D-300F-4D19-B4EA-1002A366550D}" dt="2017-08-08T06:19:43.648" v="12286" actId="20577"/>
          <ac:spMkLst>
            <pc:docMk/>
            <pc:sldMk cId="1085096104" sldId="1598"/>
            <ac:spMk id="5" creationId="{114F4EBB-F605-461E-A2B4-E35AF4A9EEAA}"/>
          </ac:spMkLst>
        </pc:spChg>
        <pc:spChg chg="add mod">
          <ac:chgData name="Ahmed Sabbour" userId="c4279823-a7c7-477e-982e-f4145bb0a83d" providerId="ADAL" clId="{3B14710D-300F-4D19-B4EA-1002A366550D}" dt="2017-08-08T06:18:43.730" v="12203" actId="20577"/>
          <ac:spMkLst>
            <pc:docMk/>
            <pc:sldMk cId="1085096104" sldId="1598"/>
            <ac:spMk id="6" creationId="{B8C51B19-2E7D-47BE-A939-223961D29D86}"/>
          </ac:spMkLst>
        </pc:spChg>
      </pc:sldChg>
      <pc:sldChg chg="addSp delSp modSp add">
        <pc:chgData name="Ahmed Sabbour" userId="c4279823-a7c7-477e-982e-f4145bb0a83d" providerId="ADAL" clId="{3B14710D-300F-4D19-B4EA-1002A366550D}" dt="2017-08-08T07:13:58.381" v="13309" actId="13926"/>
        <pc:sldMkLst>
          <pc:docMk/>
          <pc:sldMk cId="820607766" sldId="1599"/>
        </pc:sldMkLst>
        <pc:spChg chg="mod">
          <ac:chgData name="Ahmed Sabbour" userId="c4279823-a7c7-477e-982e-f4145bb0a83d" providerId="ADAL" clId="{3B14710D-300F-4D19-B4EA-1002A366550D}" dt="2017-08-08T06:44:46.084" v="12634" actId="20577"/>
          <ac:spMkLst>
            <pc:docMk/>
            <pc:sldMk cId="820607766" sldId="1599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8T06:58:55.751" v="12775" actId="478"/>
          <ac:spMkLst>
            <pc:docMk/>
            <pc:sldMk cId="820607766" sldId="1599"/>
            <ac:spMk id="3" creationId="{D2B94EA5-EB76-4458-B7A2-132E41E80B7F}"/>
          </ac:spMkLst>
        </pc:spChg>
        <pc:spChg chg="add mod">
          <ac:chgData name="Ahmed Sabbour" userId="c4279823-a7c7-477e-982e-f4145bb0a83d" providerId="ADAL" clId="{3B14710D-300F-4D19-B4EA-1002A366550D}" dt="2017-08-08T07:05:27.302" v="13034" actId="13926"/>
          <ac:spMkLst>
            <pc:docMk/>
            <pc:sldMk cId="820607766" sldId="1599"/>
            <ac:spMk id="4" creationId="{BC49CCF5-C0C7-4D2D-9C69-2148953C1030}"/>
          </ac:spMkLst>
        </pc:spChg>
        <pc:spChg chg="add mod">
          <ac:chgData name="Ahmed Sabbour" userId="c4279823-a7c7-477e-982e-f4145bb0a83d" providerId="ADAL" clId="{3B14710D-300F-4D19-B4EA-1002A366550D}" dt="2017-08-08T07:13:58.381" v="13309" actId="13926"/>
          <ac:spMkLst>
            <pc:docMk/>
            <pc:sldMk cId="820607766" sldId="1599"/>
            <ac:spMk id="5" creationId="{EDBE5CB8-B06D-4E86-A393-28ECF81F7881}"/>
          </ac:spMkLst>
        </pc:spChg>
        <pc:spChg chg="add del mod">
          <ac:chgData name="Ahmed Sabbour" userId="c4279823-a7c7-477e-982e-f4145bb0a83d" providerId="ADAL" clId="{3B14710D-300F-4D19-B4EA-1002A366550D}" dt="2017-08-08T06:58:58.668" v="12776" actId="478"/>
          <ac:spMkLst>
            <pc:docMk/>
            <pc:sldMk cId="820607766" sldId="1599"/>
            <ac:spMk id="7" creationId="{945AD907-5869-4DCD-ABBC-469A06BC06A3}"/>
          </ac:spMkLst>
        </pc:spChg>
        <pc:spChg chg="add del">
          <ac:chgData name="Ahmed Sabbour" userId="c4279823-a7c7-477e-982e-f4145bb0a83d" providerId="ADAL" clId="{3B14710D-300F-4D19-B4EA-1002A366550D}" dt="2017-08-08T07:00:55.780" v="12788" actId="13926"/>
          <ac:spMkLst>
            <pc:docMk/>
            <pc:sldMk cId="820607766" sldId="1599"/>
            <ac:spMk id="8" creationId="{7E5C8E55-D7AF-437C-BB91-0E74D6940534}"/>
          </ac:spMkLst>
        </pc:spChg>
        <pc:spChg chg="add del">
          <ac:chgData name="Ahmed Sabbour" userId="c4279823-a7c7-477e-982e-f4145bb0a83d" providerId="ADAL" clId="{3B14710D-300F-4D19-B4EA-1002A366550D}" dt="2017-08-08T07:00:55.526" v="12787" actId="13926"/>
          <ac:spMkLst>
            <pc:docMk/>
            <pc:sldMk cId="820607766" sldId="1599"/>
            <ac:spMk id="9" creationId="{ED21BFB6-C1EC-4FCD-9884-57A575A152F6}"/>
          </ac:spMkLst>
        </pc:spChg>
        <pc:spChg chg="add mod">
          <ac:chgData name="Ahmed Sabbour" userId="c4279823-a7c7-477e-982e-f4145bb0a83d" providerId="ADAL" clId="{3B14710D-300F-4D19-B4EA-1002A366550D}" dt="2017-08-08T07:05:13.177" v="13031" actId="20577"/>
          <ac:spMkLst>
            <pc:docMk/>
            <pc:sldMk cId="820607766" sldId="1599"/>
            <ac:spMk id="10" creationId="{5A165A0E-A84E-4357-9037-2E69F8488683}"/>
          </ac:spMkLst>
        </pc:spChg>
      </pc:sldChg>
      <pc:sldChg chg="modSp add del">
        <pc:chgData name="Ahmed Sabbour" userId="c4279823-a7c7-477e-982e-f4145bb0a83d" providerId="ADAL" clId="{3B14710D-300F-4D19-B4EA-1002A366550D}" dt="2017-08-08T06:59:40.305" v="12783" actId="2696"/>
        <pc:sldMkLst>
          <pc:docMk/>
          <pc:sldMk cId="270453810" sldId="1600"/>
        </pc:sldMkLst>
        <pc:spChg chg="mod">
          <ac:chgData name="Ahmed Sabbour" userId="c4279823-a7c7-477e-982e-f4145bb0a83d" providerId="ADAL" clId="{3B14710D-300F-4D19-B4EA-1002A366550D}" dt="2017-08-08T06:52:00.373" v="12761" actId="20577"/>
          <ac:spMkLst>
            <pc:docMk/>
            <pc:sldMk cId="270453810" sldId="1600"/>
            <ac:spMk id="2" creationId="{ADC22A51-5F82-45F7-AB63-BBFF9DC44802}"/>
          </ac:spMkLst>
        </pc:spChg>
        <pc:spChg chg="mod">
          <ac:chgData name="Ahmed Sabbour" userId="c4279823-a7c7-477e-982e-f4145bb0a83d" providerId="ADAL" clId="{3B14710D-300F-4D19-B4EA-1002A366550D}" dt="2017-08-08T06:51:55.007" v="12760" actId="2711"/>
          <ac:spMkLst>
            <pc:docMk/>
            <pc:sldMk cId="270453810" sldId="1600"/>
            <ac:spMk id="3" creationId="{B6647C52-E75D-4438-BF5D-24DD3834EECE}"/>
          </ac:spMkLst>
        </pc:spChg>
      </pc:sldChg>
      <pc:sldChg chg="modSp add ord">
        <pc:chgData name="Ahmed Sabbour" userId="c4279823-a7c7-477e-982e-f4145bb0a83d" providerId="ADAL" clId="{3B14710D-300F-4D19-B4EA-1002A366550D}" dt="2017-08-09T07:20:27.712" v="15502" actId="20577"/>
        <pc:sldMkLst>
          <pc:docMk/>
          <pc:sldMk cId="4194437821" sldId="1600"/>
        </pc:sldMkLst>
        <pc:spChg chg="mod">
          <ac:chgData name="Ahmed Sabbour" userId="c4279823-a7c7-477e-982e-f4145bb0a83d" providerId="ADAL" clId="{3B14710D-300F-4D19-B4EA-1002A366550D}" dt="2017-08-09T07:20:27.712" v="15502" actId="20577"/>
          <ac:spMkLst>
            <pc:docMk/>
            <pc:sldMk cId="4194437821" sldId="1600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10:50:45.642" v="14333" actId="20577"/>
          <ac:spMkLst>
            <pc:docMk/>
            <pc:sldMk cId="4194437821" sldId="1600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20:42.960" v="15510" actId="20577"/>
        <pc:sldMkLst>
          <pc:docMk/>
          <pc:sldMk cId="3885186839" sldId="1601"/>
        </pc:sldMkLst>
        <pc:spChg chg="mod">
          <ac:chgData name="Ahmed Sabbour" userId="c4279823-a7c7-477e-982e-f4145bb0a83d" providerId="ADAL" clId="{3B14710D-300F-4D19-B4EA-1002A366550D}" dt="2017-08-09T07:20:42.960" v="15510" actId="20577"/>
          <ac:spMkLst>
            <pc:docMk/>
            <pc:sldMk cId="3885186839" sldId="160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4:57:17.757" v="15029" actId="313"/>
          <ac:spMkLst>
            <pc:docMk/>
            <pc:sldMk cId="3885186839" sldId="1601"/>
            <ac:spMk id="3" creationId="{D2B94EA5-EB76-4458-B7A2-132E41E80B7F}"/>
          </ac:spMkLst>
        </pc:spChg>
      </pc:sldChg>
      <pc:sldChg chg="modSp add modTransition">
        <pc:chgData name="Ahmed Sabbour" userId="c4279823-a7c7-477e-982e-f4145bb0a83d" providerId="ADAL" clId="{3B14710D-300F-4D19-B4EA-1002A366550D}" dt="2017-08-08T12:10:55.499" v="14544" actId="20577"/>
        <pc:sldMkLst>
          <pc:docMk/>
          <pc:sldMk cId="2608748845" sldId="1602"/>
        </pc:sldMkLst>
        <pc:spChg chg="mod">
          <ac:chgData name="Ahmed Sabbour" userId="c4279823-a7c7-477e-982e-f4145bb0a83d" providerId="ADAL" clId="{3B14710D-300F-4D19-B4EA-1002A366550D}" dt="2017-08-08T12:02:04.245" v="14383" actId="20577"/>
          <ac:spMkLst>
            <pc:docMk/>
            <pc:sldMk cId="2608748845" sldId="1602"/>
            <ac:spMk id="2" creationId="{1E8D8A8C-1327-4B8E-A28D-8E56C706540F}"/>
          </ac:spMkLst>
        </pc:spChg>
        <pc:spChg chg="mod">
          <ac:chgData name="Ahmed Sabbour" userId="c4279823-a7c7-477e-982e-f4145bb0a83d" providerId="ADAL" clId="{3B14710D-300F-4D19-B4EA-1002A366550D}" dt="2017-08-08T12:10:55.499" v="14544" actId="20577"/>
          <ac:spMkLst>
            <pc:docMk/>
            <pc:sldMk cId="2608748845" sldId="1602"/>
            <ac:spMk id="3" creationId="{219B00C4-8B5E-4FA0-933D-CEA89787F93B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07:20:55.280" v="15515" actId="6549"/>
        <pc:sldMkLst>
          <pc:docMk/>
          <pc:sldMk cId="1388965160" sldId="1603"/>
        </pc:sldMkLst>
        <pc:spChg chg="mod">
          <ac:chgData name="Ahmed Sabbour" userId="c4279823-a7c7-477e-982e-f4145bb0a83d" providerId="ADAL" clId="{3B14710D-300F-4D19-B4EA-1002A366550D}" dt="2017-08-09T07:20:55.280" v="15515" actId="6549"/>
          <ac:spMkLst>
            <pc:docMk/>
            <pc:sldMk cId="1388965160" sldId="1603"/>
            <ac:spMk id="2" creationId="{007D9E32-EC68-4FD1-9E9B-A52BD3339CF7}"/>
          </ac:spMkLst>
        </pc:spChg>
        <pc:spChg chg="add mod">
          <ac:chgData name="Ahmed Sabbour" userId="c4279823-a7c7-477e-982e-f4145bb0a83d" providerId="ADAL" clId="{3B14710D-300F-4D19-B4EA-1002A366550D}" dt="2017-08-09T05:36:51.769" v="15358" actId="20577"/>
          <ac:spMkLst>
            <pc:docMk/>
            <pc:sldMk cId="1388965160" sldId="1603"/>
            <ac:spMk id="4" creationId="{4D0A2F27-EF0C-4625-AED6-90FCC650D3B3}"/>
          </ac:spMkLst>
        </pc:spChg>
        <pc:spChg chg="add del mod">
          <ac:chgData name="Ahmed Sabbour" userId="c4279823-a7c7-477e-982e-f4145bb0a83d" providerId="ADAL" clId="{3B14710D-300F-4D19-B4EA-1002A366550D}" dt="2017-08-09T05:33:54.853" v="15337" actId="478"/>
          <ac:spMkLst>
            <pc:docMk/>
            <pc:sldMk cId="1388965160" sldId="1603"/>
            <ac:spMk id="5" creationId="{96BEFF00-B8C2-4B30-B183-39D097686D73}"/>
          </ac:spMkLst>
        </pc:spChg>
        <pc:spChg chg="add mod">
          <ac:chgData name="Ahmed Sabbour" userId="c4279823-a7c7-477e-982e-f4145bb0a83d" providerId="ADAL" clId="{3B14710D-300F-4D19-B4EA-1002A366550D}" dt="2017-08-09T05:47:51.270" v="15471" actId="1035"/>
          <ac:spMkLst>
            <pc:docMk/>
            <pc:sldMk cId="1388965160" sldId="1603"/>
            <ac:spMk id="6" creationId="{61D22E1A-AEE2-4D9E-8721-F5D61D61768B}"/>
          </ac:spMkLst>
        </pc:spChg>
        <pc:spChg chg="del mod">
          <ac:chgData name="Ahmed Sabbour" userId="c4279823-a7c7-477e-982e-f4145bb0a83d" providerId="ADAL" clId="{3B14710D-300F-4D19-B4EA-1002A366550D}" dt="2017-08-09T05:33:50.606" v="15336" actId="478"/>
          <ac:spMkLst>
            <pc:docMk/>
            <pc:sldMk cId="1388965160" sldId="1603"/>
            <ac:spMk id="7" creationId="{98BF1759-F3D7-4D97-A1E9-500F62D5835F}"/>
          </ac:spMkLst>
        </pc:spChg>
        <pc:spChg chg="add mod">
          <ac:chgData name="Ahmed Sabbour" userId="c4279823-a7c7-477e-982e-f4145bb0a83d" providerId="ADAL" clId="{3B14710D-300F-4D19-B4EA-1002A366550D}" dt="2017-08-09T05:47:45.877" v="15468" actId="404"/>
          <ac:spMkLst>
            <pc:docMk/>
            <pc:sldMk cId="1388965160" sldId="1603"/>
            <ac:spMk id="8" creationId="{A8ACAD2E-5631-4A96-8170-95C78426DD48}"/>
          </ac:spMkLst>
        </pc:spChg>
        <pc:spChg chg="add del">
          <ac:chgData name="Ahmed Sabbour" userId="c4279823-a7c7-477e-982e-f4145bb0a83d" providerId="ADAL" clId="{3B14710D-300F-4D19-B4EA-1002A366550D}" dt="2017-08-09T05:45:31.035" v="15397" actId="6549"/>
          <ac:spMkLst>
            <pc:docMk/>
            <pc:sldMk cId="1388965160" sldId="1603"/>
            <ac:spMk id="9" creationId="{C89EF44E-96EA-4FE8-9805-9CBD7BC4BDEE}"/>
          </ac:spMkLst>
        </pc:spChg>
      </pc:sldChg>
      <pc:sldChg chg="delSp add">
        <pc:chgData name="Ahmed Sabbour" userId="c4279823-a7c7-477e-982e-f4145bb0a83d" providerId="ADAL" clId="{3B14710D-300F-4D19-B4EA-1002A366550D}" dt="2017-08-09T05:54:19.593" v="15473" actId="478"/>
        <pc:sldMkLst>
          <pc:docMk/>
          <pc:sldMk cId="215617912" sldId="1604"/>
        </pc:sldMkLst>
        <pc:picChg chg="del">
          <ac:chgData name="Ahmed Sabbour" userId="c4279823-a7c7-477e-982e-f4145bb0a83d" providerId="ADAL" clId="{3B14710D-300F-4D19-B4EA-1002A366550D}" dt="2017-08-09T05:54:19.593" v="15473" actId="478"/>
          <ac:picMkLst>
            <pc:docMk/>
            <pc:sldMk cId="215617912" sldId="1604"/>
            <ac:picMk id="22" creationId="{00000000-0000-0000-0000-000000000000}"/>
          </ac:picMkLst>
        </pc:picChg>
      </pc:sldChg>
      <pc:sldChg chg="add del">
        <pc:chgData name="Ahmed Sabbour" userId="c4279823-a7c7-477e-982e-f4145bb0a83d" providerId="ADAL" clId="{3B14710D-300F-4D19-B4EA-1002A366550D}" dt="2017-08-09T05:45:18.407" v="15393" actId="2696"/>
        <pc:sldMkLst>
          <pc:docMk/>
          <pc:sldMk cId="1014212050" sldId="1604"/>
        </pc:sldMkLst>
      </pc:sldChg>
      <pc:sldChg chg="addSp delSp modSp add">
        <pc:chgData name="Ahmed Sabbour" userId="c4279823-a7c7-477e-982e-f4145bb0a83d" providerId="ADAL" clId="{3B14710D-300F-4D19-B4EA-1002A366550D}" dt="2017-08-09T12:59:51.433" v="18734" actId="20577"/>
        <pc:sldMkLst>
          <pc:docMk/>
          <pc:sldMk cId="600282527" sldId="1605"/>
        </pc:sldMkLst>
        <pc:spChg chg="mod">
          <ac:chgData name="Ahmed Sabbour" userId="c4279823-a7c7-477e-982e-f4145bb0a83d" providerId="ADAL" clId="{3B14710D-300F-4D19-B4EA-1002A366550D}" dt="2017-08-09T07:30:20.621" v="15722" actId="20577"/>
          <ac:spMkLst>
            <pc:docMk/>
            <pc:sldMk cId="600282527" sldId="1605"/>
            <ac:spMk id="2" creationId="{007D9E32-EC68-4FD1-9E9B-A52BD3339CF7}"/>
          </ac:spMkLst>
        </pc:spChg>
        <pc:spChg chg="add del">
          <ac:chgData name="Ahmed Sabbour" userId="c4279823-a7c7-477e-982e-f4145bb0a83d" providerId="ADAL" clId="{3B14710D-300F-4D19-B4EA-1002A366550D}" dt="2017-08-09T07:59:48.443" v="15839" actId="20577"/>
          <ac:spMkLst>
            <pc:docMk/>
            <pc:sldMk cId="600282527" sldId="1605"/>
            <ac:spMk id="3" creationId="{F047D342-A7AF-4CAA-B077-A6B60FF9910E}"/>
          </ac:spMkLst>
        </pc:spChg>
        <pc:spChg chg="del">
          <ac:chgData name="Ahmed Sabbour" userId="c4279823-a7c7-477e-982e-f4145bb0a83d" providerId="ADAL" clId="{3B14710D-300F-4D19-B4EA-1002A366550D}" dt="2017-08-09T07:59:28.648" v="15836" actId="478"/>
          <ac:spMkLst>
            <pc:docMk/>
            <pc:sldMk cId="600282527" sldId="1605"/>
            <ac:spMk id="4" creationId="{BC49CCF5-C0C7-4D2D-9C69-2148953C1030}"/>
          </ac:spMkLst>
        </pc:spChg>
        <pc:spChg chg="del">
          <ac:chgData name="Ahmed Sabbour" userId="c4279823-a7c7-477e-982e-f4145bb0a83d" providerId="ADAL" clId="{3B14710D-300F-4D19-B4EA-1002A366550D}" dt="2017-08-09T07:59:31.862" v="15837" actId="478"/>
          <ac:spMkLst>
            <pc:docMk/>
            <pc:sldMk cId="600282527" sldId="1605"/>
            <ac:spMk id="5" creationId="{EDBE5CB8-B06D-4E86-A393-28ECF81F7881}"/>
          </ac:spMkLst>
        </pc:spChg>
        <pc:spChg chg="add mod">
          <ac:chgData name="Ahmed Sabbour" userId="c4279823-a7c7-477e-982e-f4145bb0a83d" providerId="ADAL" clId="{3B14710D-300F-4D19-B4EA-1002A366550D}" dt="2017-08-09T12:59:36.495" v="18691" actId="13926"/>
          <ac:spMkLst>
            <pc:docMk/>
            <pc:sldMk cId="600282527" sldId="1605"/>
            <ac:spMk id="6" creationId="{FBFA5C75-8C01-40B1-A72F-A982E6F026B3}"/>
          </ac:spMkLst>
        </pc:spChg>
        <pc:spChg chg="mod">
          <ac:chgData name="Ahmed Sabbour" userId="c4279823-a7c7-477e-982e-f4145bb0a83d" providerId="ADAL" clId="{3B14710D-300F-4D19-B4EA-1002A366550D}" dt="2017-08-09T12:59:51.433" v="18734" actId="20577"/>
          <ac:spMkLst>
            <pc:docMk/>
            <pc:sldMk cId="600282527" sldId="1605"/>
            <ac:spMk id="10" creationId="{5A165A0E-A84E-4357-9037-2E69F8488683}"/>
          </ac:spMkLst>
        </pc:spChg>
      </pc:sldChg>
      <pc:sldChg chg="modSp add">
        <pc:chgData name="Ahmed Sabbour" userId="c4279823-a7c7-477e-982e-f4145bb0a83d" providerId="ADAL" clId="{3B14710D-300F-4D19-B4EA-1002A366550D}" dt="2017-08-10T07:29:05.561" v="18862" actId="6549"/>
        <pc:sldMkLst>
          <pc:docMk/>
          <pc:sldMk cId="3186289338" sldId="1606"/>
        </pc:sldMkLst>
        <pc:spChg chg="mod">
          <ac:chgData name="Ahmed Sabbour" userId="c4279823-a7c7-477e-982e-f4145bb0a83d" providerId="ADAL" clId="{3B14710D-300F-4D19-B4EA-1002A366550D}" dt="2017-08-09T07:30:26.964" v="15727" actId="20577"/>
          <ac:spMkLst>
            <pc:docMk/>
            <pc:sldMk cId="3186289338" sldId="1606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29:05.561" v="18862" actId="6549"/>
          <ac:spMkLst>
            <pc:docMk/>
            <pc:sldMk cId="3186289338" sldId="1606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44:57.943" v="17900" actId="20577"/>
        <pc:sldMkLst>
          <pc:docMk/>
          <pc:sldMk cId="3113160231" sldId="1607"/>
        </pc:sldMkLst>
        <pc:spChg chg="mod">
          <ac:chgData name="Ahmed Sabbour" userId="c4279823-a7c7-477e-982e-f4145bb0a83d" providerId="ADAL" clId="{3B14710D-300F-4D19-B4EA-1002A366550D}" dt="2017-08-09T11:58:06.022" v="16092" actId="20577"/>
          <ac:spMkLst>
            <pc:docMk/>
            <pc:sldMk cId="3113160231" sldId="1607"/>
            <ac:spMk id="2" creationId="{7140C159-5EC4-4B97-A833-D2ECB03DBEC5}"/>
          </ac:spMkLst>
        </pc:spChg>
        <pc:spChg chg="mod">
          <ac:chgData name="Ahmed Sabbour" userId="c4279823-a7c7-477e-982e-f4145bb0a83d" providerId="ADAL" clId="{3B14710D-300F-4D19-B4EA-1002A366550D}" dt="2017-08-09T12:43:56.756" v="17754" actId="20577"/>
          <ac:spMkLst>
            <pc:docMk/>
            <pc:sldMk cId="3113160231" sldId="1607"/>
            <ac:spMk id="3" creationId="{ECFF7F38-EEED-4B80-8933-A8D990FA4613}"/>
          </ac:spMkLst>
        </pc:spChg>
        <pc:spChg chg="add del">
          <ac:chgData name="Ahmed Sabbour" userId="c4279823-a7c7-477e-982e-f4145bb0a83d" providerId="ADAL" clId="{3B14710D-300F-4D19-B4EA-1002A366550D}" dt="2017-08-09T12:44:00.523" v="17756" actId="20577"/>
          <ac:spMkLst>
            <pc:docMk/>
            <pc:sldMk cId="3113160231" sldId="1607"/>
            <ac:spMk id="4" creationId="{CE8149C7-AAC3-4876-B79A-0BBA0077612B}"/>
          </ac:spMkLst>
        </pc:spChg>
        <pc:spChg chg="add mod">
          <ac:chgData name="Ahmed Sabbour" userId="c4279823-a7c7-477e-982e-f4145bb0a83d" providerId="ADAL" clId="{3B14710D-300F-4D19-B4EA-1002A366550D}" dt="2017-08-09T12:44:57.943" v="17900" actId="20577"/>
          <ac:spMkLst>
            <pc:docMk/>
            <pc:sldMk cId="3113160231" sldId="1607"/>
            <ac:spMk id="5" creationId="{DCD8B26C-D17B-4F5A-AC19-A967C515B93F}"/>
          </ac:spMkLst>
        </pc:spChg>
      </pc:sldChg>
      <pc:sldChg chg="modSp add">
        <pc:chgData name="Ahmed Sabbour" userId="c4279823-a7c7-477e-982e-f4145bb0a83d" providerId="ADAL" clId="{3B14710D-300F-4D19-B4EA-1002A366550D}" dt="2017-08-09T12:47:50.441" v="17962" actId="20577"/>
        <pc:sldMkLst>
          <pc:docMk/>
          <pc:sldMk cId="2003399346" sldId="1608"/>
        </pc:sldMkLst>
        <pc:spChg chg="mod">
          <ac:chgData name="Ahmed Sabbour" userId="c4279823-a7c7-477e-982e-f4145bb0a83d" providerId="ADAL" clId="{3B14710D-300F-4D19-B4EA-1002A366550D}" dt="2017-08-09T12:00:15.654" v="16499" actId="20577"/>
          <ac:spMkLst>
            <pc:docMk/>
            <pc:sldMk cId="2003399346" sldId="1608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2:47:50.441" v="17962" actId="20577"/>
          <ac:spMkLst>
            <pc:docMk/>
            <pc:sldMk cId="2003399346" sldId="1608"/>
            <ac:spMk id="3" creationId="{47DE4C11-7984-4F93-8920-CD7A92AF7CE2}"/>
          </ac:spMkLst>
        </pc:spChg>
      </pc:sldChg>
      <pc:sldChg chg="modSp add">
        <pc:chgData name="Ahmed Sabbour" userId="c4279823-a7c7-477e-982e-f4145bb0a83d" providerId="ADAL" clId="{3B14710D-300F-4D19-B4EA-1002A366550D}" dt="2017-08-09T13:03:36.065" v="18750" actId="20577"/>
        <pc:sldMkLst>
          <pc:docMk/>
          <pc:sldMk cId="2472157488" sldId="1609"/>
        </pc:sldMkLst>
        <pc:spChg chg="mod">
          <ac:chgData name="Ahmed Sabbour" userId="c4279823-a7c7-477e-982e-f4145bb0a83d" providerId="ADAL" clId="{3B14710D-300F-4D19-B4EA-1002A366550D}" dt="2017-08-09T12:51:05.486" v="18186" actId="20577"/>
          <ac:spMkLst>
            <pc:docMk/>
            <pc:sldMk cId="2472157488" sldId="1609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3:03:36.065" v="18750" actId="20577"/>
          <ac:spMkLst>
            <pc:docMk/>
            <pc:sldMk cId="2472157488" sldId="1609"/>
            <ac:spMk id="3" creationId="{47DE4C11-7984-4F93-8920-CD7A92AF7CE2}"/>
          </ac:spMkLst>
        </pc:spChg>
      </pc:sldChg>
      <pc:sldChg chg="modSp add modNotesTx">
        <pc:chgData name="Ahmed Sabbour" userId="c4279823-a7c7-477e-982e-f4145bb0a83d" providerId="ADAL" clId="{3B14710D-300F-4D19-B4EA-1002A366550D}" dt="2017-08-10T07:17:14.558" v="18801" actId="20577"/>
        <pc:sldMkLst>
          <pc:docMk/>
          <pc:sldMk cId="39870108" sldId="1610"/>
        </pc:sldMkLst>
        <pc:spChg chg="mod">
          <ac:chgData name="Ahmed Sabbour" userId="c4279823-a7c7-477e-982e-f4145bb0a83d" providerId="ADAL" clId="{3B14710D-300F-4D19-B4EA-1002A366550D}" dt="2017-08-09T12:51:32.888" v="18237" actId="20577"/>
          <ac:spMkLst>
            <pc:docMk/>
            <pc:sldMk cId="39870108" sldId="1610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10T06:41:50.569" v="18783" actId="20577"/>
          <ac:spMkLst>
            <pc:docMk/>
            <pc:sldMk cId="39870108" sldId="1610"/>
            <ac:spMk id="3" creationId="{47DE4C11-7984-4F93-8920-CD7A92AF7CE2}"/>
          </ac:spMkLst>
        </pc:spChg>
      </pc:sldChg>
      <pc:sldChg chg="addSp delSp modSp add modNotesTx">
        <pc:chgData name="Ahmed Sabbour" userId="c4279823-a7c7-477e-982e-f4145bb0a83d" providerId="ADAL" clId="{3B14710D-300F-4D19-B4EA-1002A366550D}" dt="2017-08-10T10:56:27.318" v="18966" actId="14100"/>
        <pc:sldMkLst>
          <pc:docMk/>
          <pc:sldMk cId="3865841868" sldId="1611"/>
        </pc:sldMkLst>
        <pc:spChg chg="mod">
          <ac:chgData name="Ahmed Sabbour" userId="c4279823-a7c7-477e-982e-f4145bb0a83d" providerId="ADAL" clId="{3B14710D-300F-4D19-B4EA-1002A366550D}" dt="2017-08-10T10:48:32.115" v="18952" actId="20577"/>
          <ac:spMkLst>
            <pc:docMk/>
            <pc:sldMk cId="3865841868" sldId="1611"/>
            <ac:spMk id="2" creationId="{007D9E32-EC68-4FD1-9E9B-A52BD3339CF7}"/>
          </ac:spMkLst>
        </pc:spChg>
        <pc:spChg chg="del">
          <ac:chgData name="Ahmed Sabbour" userId="c4279823-a7c7-477e-982e-f4145bb0a83d" providerId="ADAL" clId="{3B14710D-300F-4D19-B4EA-1002A366550D}" dt="2017-08-10T10:47:59.114" v="18917" actId="478"/>
          <ac:spMkLst>
            <pc:docMk/>
            <pc:sldMk cId="3865841868" sldId="1611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10T10:49:39.524" v="18954" actId="478"/>
          <ac:spMkLst>
            <pc:docMk/>
            <pc:sldMk cId="3865841868" sldId="1611"/>
            <ac:spMk id="5" creationId="{3975C54F-4B8B-4AE1-B3CC-A65F07D92588}"/>
          </ac:spMkLst>
        </pc:spChg>
        <pc:picChg chg="add mod">
          <ac:chgData name="Ahmed Sabbour" userId="c4279823-a7c7-477e-982e-f4145bb0a83d" providerId="ADAL" clId="{3B14710D-300F-4D19-B4EA-1002A366550D}" dt="2017-08-10T10:56:27.318" v="18966" actId="14100"/>
          <ac:picMkLst>
            <pc:docMk/>
            <pc:sldMk cId="3865841868" sldId="1611"/>
            <ac:picMk id="6" creationId="{5C256B43-2697-45B7-A0EA-8CEF75FF6459}"/>
          </ac:picMkLst>
        </pc:picChg>
      </pc:sldChg>
      <pc:sldChg chg="modSp add">
        <pc:chgData name="Ahmed Sabbour" userId="c4279823-a7c7-477e-982e-f4145bb0a83d" providerId="ADAL" clId="{3B14710D-300F-4D19-B4EA-1002A366550D}" dt="2017-08-10T11:18:20.639" v="19163" actId="20577"/>
        <pc:sldMkLst>
          <pc:docMk/>
          <pc:sldMk cId="628418980" sldId="1612"/>
        </pc:sldMkLst>
        <pc:spChg chg="mod">
          <ac:chgData name="Ahmed Sabbour" userId="c4279823-a7c7-477e-982e-f4145bb0a83d" providerId="ADAL" clId="{3B14710D-300F-4D19-B4EA-1002A366550D}" dt="2017-08-10T10:57:36.242" v="19002" actId="20577"/>
          <ac:spMkLst>
            <pc:docMk/>
            <pc:sldMk cId="628418980" sldId="161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11:18:20.639" v="19163" actId="20577"/>
          <ac:spMkLst>
            <pc:docMk/>
            <pc:sldMk cId="628418980" sldId="1612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10T10:52:05.848" v="18960" actId="1076"/>
        <pc:sldMkLst>
          <pc:docMk/>
          <pc:sldMk cId="3290665532" sldId="1613"/>
        </pc:sldMkLst>
        <pc:picChg chg="add mod">
          <ac:chgData name="Ahmed Sabbour" userId="c4279823-a7c7-477e-982e-f4145bb0a83d" providerId="ADAL" clId="{3B14710D-300F-4D19-B4EA-1002A366550D}" dt="2017-08-10T10:52:05.848" v="18960" actId="1076"/>
          <ac:picMkLst>
            <pc:docMk/>
            <pc:sldMk cId="3290665532" sldId="1613"/>
            <ac:picMk id="3" creationId="{240EBFD1-FF65-44E8-B86A-B1C74243EC40}"/>
          </ac:picMkLst>
        </pc:picChg>
        <pc:picChg chg="del">
          <ac:chgData name="Ahmed Sabbour" userId="c4279823-a7c7-477e-982e-f4145bb0a83d" providerId="ADAL" clId="{3B14710D-300F-4D19-B4EA-1002A366550D}" dt="2017-08-10T10:51:58.068" v="18957" actId="478"/>
          <ac:picMkLst>
            <pc:docMk/>
            <pc:sldMk cId="3290665532" sldId="1613"/>
            <ac:picMk id="6" creationId="{5C256B43-2697-45B7-A0EA-8CEF75FF6459}"/>
          </ac:picMkLst>
        </pc:picChg>
      </pc:sldChg>
      <pc:sldChg chg="addSp delSp modSp add">
        <pc:chgData name="Ahmed Sabbour" userId="c4279823-a7c7-477e-982e-f4145bb0a83d" providerId="ADAL" clId="{3B14710D-300F-4D19-B4EA-1002A366550D}" dt="2017-08-10T10:54:31.919" v="18965" actId="478"/>
        <pc:sldMkLst>
          <pc:docMk/>
          <pc:sldMk cId="1692335661" sldId="1614"/>
        </pc:sldMkLst>
        <pc:picChg chg="del">
          <ac:chgData name="Ahmed Sabbour" userId="c4279823-a7c7-477e-982e-f4145bb0a83d" providerId="ADAL" clId="{3B14710D-300F-4D19-B4EA-1002A366550D}" dt="2017-08-10T10:54:31.919" v="18965" actId="478"/>
          <ac:picMkLst>
            <pc:docMk/>
            <pc:sldMk cId="1692335661" sldId="1614"/>
            <ac:picMk id="3" creationId="{240EBFD1-FF65-44E8-B86A-B1C74243EC40}"/>
          </ac:picMkLst>
        </pc:picChg>
        <pc:picChg chg="add mod">
          <ac:chgData name="Ahmed Sabbour" userId="c4279823-a7c7-477e-982e-f4145bb0a83d" providerId="ADAL" clId="{3B14710D-300F-4D19-B4EA-1002A366550D}" dt="2017-08-10T10:54:30.183" v="18964" actId="14100"/>
          <ac:picMkLst>
            <pc:docMk/>
            <pc:sldMk cId="1692335661" sldId="1614"/>
            <ac:picMk id="4" creationId="{8D62DD96-6E6E-4ADD-878B-469869766B86}"/>
          </ac:picMkLst>
        </pc:picChg>
      </pc:sldChg>
      <pc:sldMasterChg chg="modSldLayout">
        <pc:chgData name="Ahmed Sabbour" userId="c4279823-a7c7-477e-982e-f4145bb0a83d" providerId="ADAL" clId="{3B14710D-300F-4D19-B4EA-1002A366550D}" dt="2017-08-02T11:28:38.986" v="5272" actId="2696"/>
        <pc:sldMasterMkLst>
          <pc:docMk/>
          <pc:sldMasterMk cId="3588427678" sldId="2147484229"/>
        </pc:sldMasterMkLst>
        <pc:sldLayoutChg chg="addSp delSp modSp">
          <pc:chgData name="Ahmed Sabbour" userId="c4279823-a7c7-477e-982e-f4145bb0a83d" providerId="ADAL" clId="{3B14710D-300F-4D19-B4EA-1002A366550D}" dt="2017-08-02T11:28:38.986" v="5272" actId="2696"/>
          <pc:sldLayoutMkLst>
            <pc:docMk/>
            <pc:sldMasterMk cId="3588427678" sldId="2147484229"/>
            <pc:sldLayoutMk cId="1368165240" sldId="2147484266"/>
          </pc:sldLayoutMkLst>
          <pc:spChg chg="del">
            <ac:chgData name="Ahmed Sabbour" userId="c4279823-a7c7-477e-982e-f4145bb0a83d" providerId="ADAL" clId="{3B14710D-300F-4D19-B4EA-1002A366550D}" dt="2017-08-02T11:25:45.767" v="5226" actId="478"/>
            <ac:spMkLst>
              <pc:docMk/>
              <pc:sldMasterMk cId="3588427678" sldId="2147484229"/>
              <pc:sldLayoutMk cId="1368165240" sldId="2147484266"/>
              <ac:spMk id="122" creationId="{00000000-0000-0000-0000-000000000000}"/>
            </ac:spMkLst>
          </pc:spChg>
          <pc:spChg chg="del">
            <ac:chgData name="Ahmed Sabbour" userId="c4279823-a7c7-477e-982e-f4145bb0a83d" providerId="ADAL" clId="{3B14710D-300F-4D19-B4EA-1002A366550D}" dt="2017-08-02T11:25:48.737" v="5227" actId="478"/>
            <ac:spMkLst>
              <pc:docMk/>
              <pc:sldMasterMk cId="3588427678" sldId="2147484229"/>
              <pc:sldLayoutMk cId="1368165240" sldId="2147484266"/>
              <ac:spMk id="123" creationId="{00000000-0000-0000-0000-000000000000}"/>
            </ac:spMkLst>
          </pc:spChg>
          <pc:spChg chg="add del mod">
            <ac:chgData name="Ahmed Sabbour" userId="c4279823-a7c7-477e-982e-f4145bb0a83d" providerId="ADAL" clId="{3B14710D-300F-4D19-B4EA-1002A366550D}" dt="2017-08-02T11:28:38.986" v="5272" actId="2696"/>
            <ac:spMkLst>
              <pc:docMk/>
              <pc:sldMasterMk cId="3588427678" sldId="2147484229"/>
              <pc:sldLayoutMk cId="1368165240" sldId="2147484266"/>
              <ac:spMk id="144" creationId="{151FB128-B182-4757-8E07-9CD636575329}"/>
            </ac:spMkLst>
          </pc:spChg>
          <pc:picChg chg="add mod">
            <ac:chgData name="Ahmed Sabbour" userId="c4279823-a7c7-477e-982e-f4145bb0a83d" providerId="ADAL" clId="{3B14710D-300F-4D19-B4EA-1002A366550D}" dt="2017-08-02T11:28:12.461" v="5268" actId="14861"/>
            <ac:picMkLst>
              <pc:docMk/>
              <pc:sldMasterMk cId="3588427678" sldId="2147484229"/>
              <pc:sldLayoutMk cId="1368165240" sldId="2147484266"/>
              <ac:picMk id="143" creationId="{D16B7602-5DDC-480C-B65E-0D8EF1965AE1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10/24/17 3:14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9489B14-6501-4CD1-A820-B9AC2BB636A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09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0B0F60-009A-48DF-8304-85310C288C3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816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672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4/17 3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5246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4/17 3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3395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2107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4/17 3:1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42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00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D86114-A4AA-9940-B879-260AA71F1A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444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0611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4/17 3:1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314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78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12601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05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E84DEEF-CAD7-44E8-8BA2-9F365A3FAD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019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0A6473-BB9F-4670-822F-E65C1DB697A0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24423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4943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4/17 3:14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164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FAD6D-20DC-4668-9C6D-4E32708B20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385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4/17 3:1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948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4/17 3:14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910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763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8914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4/17 3:14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6480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7653DB-B31F-428D-9506-C3E31288514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898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2469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6909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900" b="0" i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596d8d4987144f0993a514499fcea956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96141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86473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9DC94B-DB72-488C-A100-9C8F7341285A}" type="datetime8">
              <a:rPr lang="en-US" smtClean="0">
                <a:solidFill>
                  <a:prstClr val="black"/>
                </a:solidFill>
              </a:rPr>
              <a:t>10/24/17 3:1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11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529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309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7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4/17 3:1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627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05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76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mentum data captured June 201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688">
              <a:defRPr/>
            </a:pPr>
            <a:fld id="{57543A79-E847-46E2-B07E-9919A5301F60}" type="slidenum">
              <a:rPr lang="en-US" smtClean="0">
                <a:solidFill>
                  <a:prstClr val="black"/>
                </a:solidFill>
              </a:rPr>
              <a:pPr defTabSz="932688">
                <a:defRPr/>
              </a:pPr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99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24" y="102246"/>
            <a:ext cx="12437699" cy="689227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85216" y="264964"/>
            <a:ext cx="11226195" cy="1097302"/>
          </a:xfrm>
        </p:spPr>
        <p:txBody>
          <a:bodyPr lIns="0"/>
          <a:lstStyle>
            <a:lvl1pPr>
              <a:lnSpc>
                <a:spcPts val="4899"/>
              </a:lnSpc>
              <a:defRPr sz="4399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901"/>
            <a:ext cx="393700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901"/>
            <a:ext cx="566738" cy="136525"/>
          </a:xfrm>
          <a:prstGeom prst="rect">
            <a:avLst/>
          </a:prstGeom>
        </p:spPr>
        <p:txBody>
          <a:bodyPr/>
          <a:lstStyle>
            <a:lvl1pPr defTabSz="931684" eaLnBrk="0" hangingPunct="0">
              <a:defRPr>
                <a:latin typeface="Segoe UI" panose="020B0502040204020203" pitchFamily="34" charset="0"/>
                <a:ea typeface="MS PGothic" panose="020B0600070205080204" pitchFamily="34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4EFCDE-5E72-405F-A934-F82F1BE3A79C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02978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1661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365762"/>
            <a:ext cx="11704321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1188720"/>
            <a:ext cx="11704321" cy="576079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</p:spTree>
    <p:extLst>
      <p:ext uri="{BB962C8B-B14F-4D97-AF65-F5344CB8AC3E}">
        <p14:creationId xmlns:p14="http://schemas.microsoft.com/office/powerpoint/2010/main" val="4783542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174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4265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517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Freeform: Shape 7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3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441950" y="3669274"/>
            <a:ext cx="7007806" cy="3325250"/>
            <a:chOff x="5441950" y="3669274"/>
            <a:chExt cx="7007806" cy="3325250"/>
          </a:xfrm>
        </p:grpSpPr>
        <p:sp>
          <p:nvSpPr>
            <p:cNvPr id="10" name="Freeform: Shape 9"/>
            <p:cNvSpPr>
              <a:spLocks/>
            </p:cNvSpPr>
            <p:nvPr userDrawn="1"/>
          </p:nvSpPr>
          <p:spPr bwMode="gray">
            <a:xfrm>
              <a:off x="5441950" y="4946076"/>
              <a:ext cx="7007806" cy="2048448"/>
            </a:xfrm>
            <a:custGeom>
              <a:avLst/>
              <a:gdLst>
                <a:gd name="connsiteX0" fmla="*/ 237491 w 7007806"/>
                <a:gd name="connsiteY0" fmla="*/ 0 h 2048448"/>
                <a:gd name="connsiteX1" fmla="*/ 966532 w 7007806"/>
                <a:gd name="connsiteY1" fmla="*/ 0 h 2048448"/>
                <a:gd name="connsiteX2" fmla="*/ 966532 w 7007806"/>
                <a:gd name="connsiteY2" fmla="*/ 578198 h 2048448"/>
                <a:gd name="connsiteX3" fmla="*/ 1425492 w 7007806"/>
                <a:gd name="connsiteY3" fmla="*/ 606386 h 2048448"/>
                <a:gd name="connsiteX4" fmla="*/ 1677037 w 7007806"/>
                <a:gd name="connsiteY4" fmla="*/ 606386 h 2048448"/>
                <a:gd name="connsiteX5" fmla="*/ 1677037 w 7007806"/>
                <a:gd name="connsiteY5" fmla="*/ 483901 h 2048448"/>
                <a:gd name="connsiteX6" fmla="*/ 1686642 w 7007806"/>
                <a:gd name="connsiteY6" fmla="*/ 483901 h 2048448"/>
                <a:gd name="connsiteX7" fmla="*/ 1686642 w 7007806"/>
                <a:gd name="connsiteY7" fmla="*/ 225552 h 2048448"/>
                <a:gd name="connsiteX8" fmla="*/ 2059578 w 7007806"/>
                <a:gd name="connsiteY8" fmla="*/ 225552 h 2048448"/>
                <a:gd name="connsiteX9" fmla="*/ 2059578 w 7007806"/>
                <a:gd name="connsiteY9" fmla="*/ 339268 h 2048448"/>
                <a:gd name="connsiteX10" fmla="*/ 2098045 w 7007806"/>
                <a:gd name="connsiteY10" fmla="*/ 339268 h 2048448"/>
                <a:gd name="connsiteX11" fmla="*/ 2098045 w 7007806"/>
                <a:gd name="connsiteY11" fmla="*/ 483901 h 2048448"/>
                <a:gd name="connsiteX12" fmla="*/ 2204842 w 7007806"/>
                <a:gd name="connsiteY12" fmla="*/ 483901 h 2048448"/>
                <a:gd name="connsiteX13" fmla="*/ 2204842 w 7007806"/>
                <a:gd name="connsiteY13" fmla="*/ 643969 h 2048448"/>
                <a:gd name="connsiteX14" fmla="*/ 2602307 w 7007806"/>
                <a:gd name="connsiteY14" fmla="*/ 643969 h 2048448"/>
                <a:gd name="connsiteX15" fmla="*/ 2602307 w 7007806"/>
                <a:gd name="connsiteY15" fmla="*/ 744644 h 2048448"/>
                <a:gd name="connsiteX16" fmla="*/ 3055683 w 7007806"/>
                <a:gd name="connsiteY16" fmla="*/ 744644 h 2048448"/>
                <a:gd name="connsiteX17" fmla="*/ 3055683 w 7007806"/>
                <a:gd name="connsiteY17" fmla="*/ 777377 h 2048448"/>
                <a:gd name="connsiteX18" fmla="*/ 3075299 w 7007806"/>
                <a:gd name="connsiteY18" fmla="*/ 777377 h 2048448"/>
                <a:gd name="connsiteX19" fmla="*/ 3075299 w 7007806"/>
                <a:gd name="connsiteY19" fmla="*/ 965361 h 2048448"/>
                <a:gd name="connsiteX20" fmla="*/ 3423979 w 7007806"/>
                <a:gd name="connsiteY20" fmla="*/ 965361 h 2048448"/>
                <a:gd name="connsiteX21" fmla="*/ 3423979 w 7007806"/>
                <a:gd name="connsiteY21" fmla="*/ 525721 h 2048448"/>
                <a:gd name="connsiteX22" fmla="*/ 3527067 w 7007806"/>
                <a:gd name="connsiteY22" fmla="*/ 525721 h 2048448"/>
                <a:gd name="connsiteX23" fmla="*/ 3527067 w 7007806"/>
                <a:gd name="connsiteY23" fmla="*/ 386248 h 2048448"/>
                <a:gd name="connsiteX24" fmla="*/ 3830268 w 7007806"/>
                <a:gd name="connsiteY24" fmla="*/ 386248 h 2048448"/>
                <a:gd name="connsiteX25" fmla="*/ 3830268 w 7007806"/>
                <a:gd name="connsiteY25" fmla="*/ 525721 h 2048448"/>
                <a:gd name="connsiteX26" fmla="*/ 3927292 w 7007806"/>
                <a:gd name="connsiteY26" fmla="*/ 525721 h 2048448"/>
                <a:gd name="connsiteX27" fmla="*/ 3927292 w 7007806"/>
                <a:gd name="connsiteY27" fmla="*/ 58792 h 2048448"/>
                <a:gd name="connsiteX28" fmla="*/ 4630716 w 7007806"/>
                <a:gd name="connsiteY28" fmla="*/ 58792 h 2048448"/>
                <a:gd name="connsiteX29" fmla="*/ 4630716 w 7007806"/>
                <a:gd name="connsiteY29" fmla="*/ 616681 h 2048448"/>
                <a:gd name="connsiteX30" fmla="*/ 5073388 w 7007806"/>
                <a:gd name="connsiteY30" fmla="*/ 255872 h 2048448"/>
                <a:gd name="connsiteX31" fmla="*/ 5073388 w 7007806"/>
                <a:gd name="connsiteY31" fmla="*/ 643969 h 2048448"/>
                <a:gd name="connsiteX32" fmla="*/ 5315948 w 7007806"/>
                <a:gd name="connsiteY32" fmla="*/ 643969 h 2048448"/>
                <a:gd name="connsiteX33" fmla="*/ 5315948 w 7007806"/>
                <a:gd name="connsiteY33" fmla="*/ 525721 h 2048448"/>
                <a:gd name="connsiteX34" fmla="*/ 5419036 w 7007806"/>
                <a:gd name="connsiteY34" fmla="*/ 525721 h 2048448"/>
                <a:gd name="connsiteX35" fmla="*/ 5419036 w 7007806"/>
                <a:gd name="connsiteY35" fmla="*/ 386248 h 2048448"/>
                <a:gd name="connsiteX36" fmla="*/ 5722237 w 7007806"/>
                <a:gd name="connsiteY36" fmla="*/ 386248 h 2048448"/>
                <a:gd name="connsiteX37" fmla="*/ 5722237 w 7007806"/>
                <a:gd name="connsiteY37" fmla="*/ 525721 h 2048448"/>
                <a:gd name="connsiteX38" fmla="*/ 5825325 w 7007806"/>
                <a:gd name="connsiteY38" fmla="*/ 525721 h 2048448"/>
                <a:gd name="connsiteX39" fmla="*/ 5825325 w 7007806"/>
                <a:gd name="connsiteY39" fmla="*/ 965361 h 2048448"/>
                <a:gd name="connsiteX40" fmla="*/ 6170974 w 7007806"/>
                <a:gd name="connsiteY40" fmla="*/ 965361 h 2048448"/>
                <a:gd name="connsiteX41" fmla="*/ 6170974 w 7007806"/>
                <a:gd name="connsiteY41" fmla="*/ 777377 h 2048448"/>
                <a:gd name="connsiteX42" fmla="*/ 6646998 w 7007806"/>
                <a:gd name="connsiteY42" fmla="*/ 777377 h 2048448"/>
                <a:gd name="connsiteX43" fmla="*/ 6646998 w 7007806"/>
                <a:gd name="connsiteY43" fmla="*/ 1374681 h 2048448"/>
                <a:gd name="connsiteX44" fmla="*/ 7007806 w 7007806"/>
                <a:gd name="connsiteY44" fmla="*/ 1374681 h 2048448"/>
                <a:gd name="connsiteX45" fmla="*/ 7007806 w 7007806"/>
                <a:gd name="connsiteY45" fmla="*/ 1677881 h 2048448"/>
                <a:gd name="connsiteX46" fmla="*/ 6995117 w 7007806"/>
                <a:gd name="connsiteY46" fmla="*/ 1677881 h 2048448"/>
                <a:gd name="connsiteX47" fmla="*/ 6995117 w 7007806"/>
                <a:gd name="connsiteY47" fmla="*/ 2048448 h 2048448"/>
                <a:gd name="connsiteX48" fmla="*/ 0 w 7007806"/>
                <a:gd name="connsiteY48" fmla="*/ 2048448 h 2048448"/>
                <a:gd name="connsiteX49" fmla="*/ 0 w 7007806"/>
                <a:gd name="connsiteY49" fmla="*/ 339268 h 2048448"/>
                <a:gd name="connsiteX50" fmla="*/ 136873 w 7007806"/>
                <a:gd name="connsiteY50" fmla="*/ 339268 h 2048448"/>
                <a:gd name="connsiteX51" fmla="*/ 136873 w 7007806"/>
                <a:gd name="connsiteY51" fmla="*/ 483901 h 2048448"/>
                <a:gd name="connsiteX52" fmla="*/ 237491 w 7007806"/>
                <a:gd name="connsiteY52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007806" h="2048448">
                  <a:moveTo>
                    <a:pt x="237491" y="0"/>
                  </a:moveTo>
                  <a:lnTo>
                    <a:pt x="966532" y="0"/>
                  </a:lnTo>
                  <a:lnTo>
                    <a:pt x="966532" y="578198"/>
                  </a:lnTo>
                  <a:lnTo>
                    <a:pt x="1425492" y="606386"/>
                  </a:lnTo>
                  <a:lnTo>
                    <a:pt x="1677037" y="606386"/>
                  </a:lnTo>
                  <a:lnTo>
                    <a:pt x="1677037" y="483901"/>
                  </a:lnTo>
                  <a:lnTo>
                    <a:pt x="1686642" y="483901"/>
                  </a:lnTo>
                  <a:lnTo>
                    <a:pt x="1686642" y="225552"/>
                  </a:lnTo>
                  <a:lnTo>
                    <a:pt x="2059578" y="225552"/>
                  </a:lnTo>
                  <a:lnTo>
                    <a:pt x="2059578" y="339268"/>
                  </a:lnTo>
                  <a:lnTo>
                    <a:pt x="2098045" y="339268"/>
                  </a:lnTo>
                  <a:lnTo>
                    <a:pt x="2098045" y="483901"/>
                  </a:lnTo>
                  <a:lnTo>
                    <a:pt x="2204842" y="483901"/>
                  </a:lnTo>
                  <a:lnTo>
                    <a:pt x="2204842" y="643969"/>
                  </a:lnTo>
                  <a:lnTo>
                    <a:pt x="2602307" y="643969"/>
                  </a:lnTo>
                  <a:lnTo>
                    <a:pt x="2602307" y="744644"/>
                  </a:lnTo>
                  <a:lnTo>
                    <a:pt x="3055683" y="744644"/>
                  </a:lnTo>
                  <a:lnTo>
                    <a:pt x="3055683" y="777377"/>
                  </a:lnTo>
                  <a:lnTo>
                    <a:pt x="3075299" y="777377"/>
                  </a:lnTo>
                  <a:lnTo>
                    <a:pt x="3075299" y="965361"/>
                  </a:lnTo>
                  <a:lnTo>
                    <a:pt x="3423979" y="965361"/>
                  </a:lnTo>
                  <a:lnTo>
                    <a:pt x="3423979" y="525721"/>
                  </a:lnTo>
                  <a:lnTo>
                    <a:pt x="3527067" y="525721"/>
                  </a:lnTo>
                  <a:lnTo>
                    <a:pt x="3527067" y="386248"/>
                  </a:lnTo>
                  <a:lnTo>
                    <a:pt x="3830268" y="386248"/>
                  </a:lnTo>
                  <a:lnTo>
                    <a:pt x="3830268" y="525721"/>
                  </a:lnTo>
                  <a:lnTo>
                    <a:pt x="3927292" y="525721"/>
                  </a:lnTo>
                  <a:lnTo>
                    <a:pt x="3927292" y="58792"/>
                  </a:lnTo>
                  <a:lnTo>
                    <a:pt x="4630716" y="58792"/>
                  </a:lnTo>
                  <a:lnTo>
                    <a:pt x="4630716" y="616681"/>
                  </a:lnTo>
                  <a:lnTo>
                    <a:pt x="5073388" y="255872"/>
                  </a:lnTo>
                  <a:lnTo>
                    <a:pt x="5073388" y="643969"/>
                  </a:lnTo>
                  <a:lnTo>
                    <a:pt x="5315948" y="643969"/>
                  </a:lnTo>
                  <a:lnTo>
                    <a:pt x="5315948" y="525721"/>
                  </a:lnTo>
                  <a:lnTo>
                    <a:pt x="5419036" y="525721"/>
                  </a:lnTo>
                  <a:lnTo>
                    <a:pt x="5419036" y="386248"/>
                  </a:lnTo>
                  <a:lnTo>
                    <a:pt x="5722237" y="386248"/>
                  </a:lnTo>
                  <a:lnTo>
                    <a:pt x="5722237" y="525721"/>
                  </a:lnTo>
                  <a:lnTo>
                    <a:pt x="5825325" y="525721"/>
                  </a:lnTo>
                  <a:lnTo>
                    <a:pt x="5825325" y="965361"/>
                  </a:lnTo>
                  <a:lnTo>
                    <a:pt x="6170974" y="965361"/>
                  </a:lnTo>
                  <a:lnTo>
                    <a:pt x="6170974" y="777377"/>
                  </a:lnTo>
                  <a:lnTo>
                    <a:pt x="6646998" y="777377"/>
                  </a:lnTo>
                  <a:lnTo>
                    <a:pt x="6646998" y="1374681"/>
                  </a:lnTo>
                  <a:lnTo>
                    <a:pt x="7007806" y="1374681"/>
                  </a:lnTo>
                  <a:lnTo>
                    <a:pt x="7007806" y="1677881"/>
                  </a:lnTo>
                  <a:lnTo>
                    <a:pt x="6995117" y="1677881"/>
                  </a:lnTo>
                  <a:lnTo>
                    <a:pt x="6995117" y="2048448"/>
                  </a:lnTo>
                  <a:lnTo>
                    <a:pt x="0" y="2048448"/>
                  </a:lnTo>
                  <a:lnTo>
                    <a:pt x="0" y="339268"/>
                  </a:lnTo>
                  <a:lnTo>
                    <a:pt x="136873" y="339268"/>
                  </a:lnTo>
                  <a:lnTo>
                    <a:pt x="136873" y="483901"/>
                  </a:lnTo>
                  <a:lnTo>
                    <a:pt x="237491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2" name="Group 11"/>
            <p:cNvGrpSpPr/>
            <p:nvPr userDrawn="1"/>
          </p:nvGrpSpPr>
          <p:grpSpPr bwMode="gray">
            <a:xfrm>
              <a:off x="7041188" y="3669274"/>
              <a:ext cx="4600121" cy="3174732"/>
              <a:chOff x="6400911" y="3895156"/>
              <a:chExt cx="4305443" cy="2971363"/>
            </a:xfrm>
          </p:grpSpPr>
          <p:sp>
            <p:nvSpPr>
              <p:cNvPr id="13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D16B7602-5DDC-480C-B65E-0D8EF1965A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2548" y="3026568"/>
            <a:ext cx="1674338" cy="101977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: Shape 10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4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5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40064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7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7CECDB-304C-4837-8BFD-8932E434A4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436477" cy="699551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5486400" cy="366409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5486336" cy="1828800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5487988" cy="1828800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353535"/>
                </a:solidFill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21824" y="6693379"/>
            <a:ext cx="2694676" cy="284959"/>
          </a:xfrm>
          <a:prstGeom prst="rect">
            <a:avLst/>
          </a:prstGeom>
        </p:spPr>
        <p:txBody>
          <a:bodyPr anchor="ctr"/>
          <a:lstStyle>
            <a:lvl1pPr>
              <a:defRPr sz="1360"/>
            </a:lvl1pPr>
          </a:lstStyle>
          <a:p>
            <a:pPr algn="ctr" defTabSz="932418"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/>
              </a:rPr>
              <a:t>ARRYVE Confidential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  <a:latin typeface="Calibri" panose="020F0502020204030204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67316" y="6681767"/>
            <a:ext cx="2901844" cy="296572"/>
          </a:xfrm>
        </p:spPr>
        <p:txBody>
          <a:bodyPr/>
          <a:lstStyle>
            <a:lvl1pPr>
              <a:defRPr sz="1360"/>
            </a:lvl1pPr>
          </a:lstStyle>
          <a:p>
            <a:pPr algn="r" defTabSz="932418">
              <a:defRPr/>
            </a:pPr>
            <a:fld id="{7E40D5B9-7881-4007-B2C3-85B1DBA61E51}" type="slidenum">
              <a:rPr lang="en-US" smtClean="0">
                <a:solidFill>
                  <a:srgbClr val="505050"/>
                </a:solidFill>
                <a:latin typeface="Calibri" panose="020F0502020204030204"/>
              </a:rPr>
              <a:pPr algn="r" defTabSz="932418">
                <a:defRPr/>
              </a:pPr>
              <a:t>‹#›</a:t>
            </a:fld>
            <a:endParaRPr lang="en-US" dirty="0">
              <a:solidFill>
                <a:srgbClr val="505050"/>
              </a:solidFill>
              <a:latin typeface="Calibri" panose="020F0502020204030204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3637" y="98766"/>
            <a:ext cx="11711014" cy="807933"/>
          </a:xfrm>
        </p:spPr>
        <p:txBody>
          <a:bodyPr>
            <a:normAutofit/>
          </a:bodyPr>
          <a:lstStyle>
            <a:lvl1pPr>
              <a:defRPr sz="3806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505050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57200" y="490736"/>
            <a:ext cx="1239006" cy="310896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91439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15" r:id="rId19"/>
    <p:sldLayoutId id="2147484535" r:id="rId20"/>
    <p:sldLayoutId id="2147484563" r:id="rId21"/>
    <p:sldLayoutId id="2147484564" r:id="rId22"/>
    <p:sldLayoutId id="2147484565" r:id="rId2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6" y="3072300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5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7" r:id="rId1"/>
    <p:sldLayoutId id="2147484518" r:id="rId2"/>
    <p:sldLayoutId id="2147484519" r:id="rId3"/>
    <p:sldLayoutId id="2147484520" r:id="rId4"/>
    <p:sldLayoutId id="2147484521" r:id="rId5"/>
    <p:sldLayoutId id="2147484522" r:id="rId6"/>
    <p:sldLayoutId id="2147484523" r:id="rId7"/>
    <p:sldLayoutId id="2147484524" r:id="rId8"/>
    <p:sldLayoutId id="2147484525" r:id="rId9"/>
    <p:sldLayoutId id="2147484526" r:id="rId10"/>
    <p:sldLayoutId id="2147484527" r:id="rId11"/>
    <p:sldLayoutId id="2147484528" r:id="rId12"/>
    <p:sldLayoutId id="2147484529" r:id="rId13"/>
    <p:sldLayoutId id="2147484530" r:id="rId14"/>
    <p:sldLayoutId id="2147484531" r:id="rId15"/>
    <p:sldLayoutId id="2147484532" r:id="rId16"/>
    <p:sldLayoutId id="2147484533" r:id="rId17"/>
    <p:sldLayoutId id="2147484534" r:id="rId18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15 G:115 B:115</a:t>
                </a: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70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  <p:sldLayoutId id="2147484547" r:id="rId11"/>
    <p:sldLayoutId id="2147484548" r:id="rId12"/>
    <p:sldLayoutId id="2147484549" r:id="rId13"/>
    <p:sldLayoutId id="2147484550" r:id="rId14"/>
    <p:sldLayoutId id="2147484551" r:id="rId15"/>
    <p:sldLayoutId id="2147484552" r:id="rId16"/>
    <p:sldLayoutId id="2147484553" r:id="rId17"/>
    <p:sldLayoutId id="2147484554" r:id="rId18"/>
    <p:sldLayoutId id="2147484555" r:id="rId19"/>
    <p:sldLayoutId id="2147484556" r:id="rId20"/>
    <p:sldLayoutId id="2147484557" r:id="rId21"/>
    <p:sldLayoutId id="2147484558" r:id="rId22"/>
    <p:sldLayoutId id="2147484559" r:id="rId23"/>
    <p:sldLayoutId id="2147484561" r:id="rId24"/>
    <p:sldLayoutId id="2147484562" r:id="rId25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hyperlink" Target="http://customers.microsoft.com/en-US/story/pearson-uses-cloud-platform-to-bring-digital-textbooks" TargetMode="External"/><Relationship Id="rId18" Type="http://schemas.openxmlformats.org/officeDocument/2006/relationships/image" Target="../media/image37.png"/><Relationship Id="rId26" Type="http://schemas.openxmlformats.org/officeDocument/2006/relationships/image" Target="../media/image41.jpeg"/><Relationship Id="rId39" Type="http://schemas.openxmlformats.org/officeDocument/2006/relationships/hyperlink" Target="http://customers.microsoft.com/en-US/story/northpower-azure-utilities" TargetMode="External"/><Relationship Id="rId21" Type="http://schemas.openxmlformats.org/officeDocument/2006/relationships/hyperlink" Target="http://customers.microsoft.com/en-US/story/nuancehealthcare" TargetMode="External"/><Relationship Id="rId34" Type="http://schemas.openxmlformats.org/officeDocument/2006/relationships/image" Target="../media/image45.jpeg"/><Relationship Id="rId42" Type="http://schemas.openxmlformats.org/officeDocument/2006/relationships/image" Target="../media/image49.png"/><Relationship Id="rId47" Type="http://schemas.openxmlformats.org/officeDocument/2006/relationships/hyperlink" Target="http://customers.microsoft.com/en-US/story/accuweather" TargetMode="External"/><Relationship Id="rId50" Type="http://schemas.openxmlformats.org/officeDocument/2006/relationships/image" Target="../media/image53.png"/><Relationship Id="rId7" Type="http://schemas.openxmlformats.org/officeDocument/2006/relationships/hyperlink" Target="http://customers.microsoft.com/en-US/story/canadas-largest-automobile-search-site-takes-azure-for" TargetMode="External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6.png"/><Relationship Id="rId29" Type="http://schemas.openxmlformats.org/officeDocument/2006/relationships/hyperlink" Target="http://customers.microsoft.com/en-US/story/swissre" TargetMode="External"/><Relationship Id="rId11" Type="http://schemas.openxmlformats.org/officeDocument/2006/relationships/hyperlink" Target="http://customers.microsoft.com/en-US/story/neue-kanale-testen-azure-als-plattform-fur-moderne-app" TargetMode="External"/><Relationship Id="rId24" Type="http://schemas.openxmlformats.org/officeDocument/2006/relationships/image" Target="../media/image40.jpeg"/><Relationship Id="rId32" Type="http://schemas.openxmlformats.org/officeDocument/2006/relationships/image" Target="../media/image44.png"/><Relationship Id="rId37" Type="http://schemas.openxmlformats.org/officeDocument/2006/relationships/hyperlink" Target="http://customers.microsoft.com/en-US/story/pcl-construction-process-mfg-resources-azure-active-directory-sql-app-services-en" TargetMode="External"/><Relationship Id="rId40" Type="http://schemas.openxmlformats.org/officeDocument/2006/relationships/image" Target="../media/image48.png"/><Relationship Id="rId45" Type="http://schemas.openxmlformats.org/officeDocument/2006/relationships/hyperlink" Target="http://customers.microsoft.com/en-US/story/vetco-keeps-tails-wagging-with-help-from-the-cloud" TargetMode="External"/><Relationship Id="rId5" Type="http://schemas.openxmlformats.org/officeDocument/2006/relationships/hyperlink" Target="http://customers.microsoft.com/en-US/story/enhancing-banking-with-cross-platform-mobile-apps" TargetMode="External"/><Relationship Id="rId15" Type="http://schemas.openxmlformats.org/officeDocument/2006/relationships/hyperlink" Target="http://customers.microsoft.com/en-US/story/indianaofficeoftechnology" TargetMode="External"/><Relationship Id="rId23" Type="http://schemas.openxmlformats.org/officeDocument/2006/relationships/hyperlink" Target="http://customers.microsoft.com/en-US/story/lobsterink" TargetMode="External"/><Relationship Id="rId28" Type="http://schemas.openxmlformats.org/officeDocument/2006/relationships/image" Target="../media/image42.jpeg"/><Relationship Id="rId36" Type="http://schemas.openxmlformats.org/officeDocument/2006/relationships/image" Target="../media/image46.png"/><Relationship Id="rId49" Type="http://schemas.openxmlformats.org/officeDocument/2006/relationships/hyperlink" Target="http://customers.microsoft.com/en-US/story/global-leader-telenor-uses-the-cloud-to-move-with-the" TargetMode="External"/><Relationship Id="rId10" Type="http://schemas.openxmlformats.org/officeDocument/2006/relationships/image" Target="../media/image33.jpeg"/><Relationship Id="rId19" Type="http://schemas.openxmlformats.org/officeDocument/2006/relationships/hyperlink" Target="http://customers.microsoft.com/en-US/story/btt" TargetMode="External"/><Relationship Id="rId31" Type="http://schemas.openxmlformats.org/officeDocument/2006/relationships/hyperlink" Target="http://customers.microsoft.com/en-US/story/canadian-broadcaster-delivers-record-breaking-online-e" TargetMode="External"/><Relationship Id="rId44" Type="http://schemas.openxmlformats.org/officeDocument/2006/relationships/image" Target="../media/image50.jpeg"/><Relationship Id="rId4" Type="http://schemas.openxmlformats.org/officeDocument/2006/relationships/image" Target="../media/image30.jpeg"/><Relationship Id="rId9" Type="http://schemas.openxmlformats.org/officeDocument/2006/relationships/hyperlink" Target="http://customers.microsoft.com/en-US/story/crowdsourcing-gets-music-from-the-cloud-to-the-concert" TargetMode="External"/><Relationship Id="rId14" Type="http://schemas.openxmlformats.org/officeDocument/2006/relationships/image" Target="../media/image35.png"/><Relationship Id="rId22" Type="http://schemas.openxmlformats.org/officeDocument/2006/relationships/image" Target="../media/image39.jpeg"/><Relationship Id="rId27" Type="http://schemas.openxmlformats.org/officeDocument/2006/relationships/hyperlink" Target="http://customers.microsoft.com/en-US/story/leading-european-insurance-firm-transforms-online-services-with-azure" TargetMode="External"/><Relationship Id="rId30" Type="http://schemas.openxmlformats.org/officeDocument/2006/relationships/image" Target="../media/image43.jpeg"/><Relationship Id="rId35" Type="http://schemas.openxmlformats.org/officeDocument/2006/relationships/hyperlink" Target="http://customers.microsoft.com/en-US/story/mtiandcambiahealth" TargetMode="External"/><Relationship Id="rId43" Type="http://schemas.openxmlformats.org/officeDocument/2006/relationships/hyperlink" Target="http://customers.microsoft.com/en-US/story/jetcustomerstory" TargetMode="External"/><Relationship Id="rId48" Type="http://schemas.openxmlformats.org/officeDocument/2006/relationships/image" Target="../media/image52.png"/><Relationship Id="rId8" Type="http://schemas.openxmlformats.org/officeDocument/2006/relationships/image" Target="../media/image32.png"/><Relationship Id="rId3" Type="http://schemas.openxmlformats.org/officeDocument/2006/relationships/hyperlink" Target="http://customers.microsoft.com/en-US/story/the-royal-agricultural-society-creates-fertile-digital-foundation-in-microsoft-azure-to-seed" TargetMode="External"/><Relationship Id="rId12" Type="http://schemas.openxmlformats.org/officeDocument/2006/relationships/image" Target="../media/image34.jpeg"/><Relationship Id="rId17" Type="http://schemas.openxmlformats.org/officeDocument/2006/relationships/hyperlink" Target="http://customers.microsoft.com/en-US/story/somersetcountycouncil" TargetMode="External"/><Relationship Id="rId25" Type="http://schemas.openxmlformats.org/officeDocument/2006/relationships/hyperlink" Target="http://customers.microsoft.com/en-US/story/pizza-hut-azure-retail-consumer-goods" TargetMode="External"/><Relationship Id="rId33" Type="http://schemas.openxmlformats.org/officeDocument/2006/relationships/hyperlink" Target="http://customers.microsoft.com/en-US/story/geekwire" TargetMode="External"/><Relationship Id="rId38" Type="http://schemas.openxmlformats.org/officeDocument/2006/relationships/image" Target="../media/image47.jpeg"/><Relationship Id="rId46" Type="http://schemas.openxmlformats.org/officeDocument/2006/relationships/image" Target="../media/image51.jpeg"/><Relationship Id="rId20" Type="http://schemas.openxmlformats.org/officeDocument/2006/relationships/image" Target="../media/image38.jpeg"/><Relationship Id="rId41" Type="http://schemas.openxmlformats.org/officeDocument/2006/relationships/hyperlink" Target="http://customers.microsoft.com/en-US/story/carmax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1.jpeg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4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7.png"/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4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asabbourfeedbackcdn.azureedge.net/coupons/Ahmed%20Sabbour_89232.jpg" TargetMode="External"/><Relationship Id="rId5" Type="http://schemas.openxmlformats.org/officeDocument/2006/relationships/image" Target="../media/image206.tiff"/><Relationship Id="rId4" Type="http://schemas.openxmlformats.org/officeDocument/2006/relationships/image" Target="../media/image205.png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tryappservice" TargetMode="External"/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://aka.ms/trydevops" TargetMode="Externa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6.jpeg"/><Relationship Id="rId4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image" Target="../media/image58.emf"/><Relationship Id="rId7" Type="http://schemas.openxmlformats.org/officeDocument/2006/relationships/image" Target="../media/image62.emf"/><Relationship Id="rId12" Type="http://schemas.openxmlformats.org/officeDocument/2006/relationships/image" Target="../media/image6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1.emf"/><Relationship Id="rId11" Type="http://schemas.openxmlformats.org/officeDocument/2006/relationships/image" Target="../media/image66.emf"/><Relationship Id="rId5" Type="http://schemas.openxmlformats.org/officeDocument/2006/relationships/image" Target="../media/image60.emf"/><Relationship Id="rId10" Type="http://schemas.openxmlformats.org/officeDocument/2006/relationships/image" Target="../media/image65.png"/><Relationship Id="rId4" Type="http://schemas.openxmlformats.org/officeDocument/2006/relationships/image" Target="../media/image59.emf"/><Relationship Id="rId9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0.emf"/><Relationship Id="rId5" Type="http://schemas.openxmlformats.org/officeDocument/2006/relationships/image" Target="../media/image69.emf"/><Relationship Id="rId4" Type="http://schemas.openxmlformats.org/officeDocument/2006/relationships/image" Target="../media/image6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3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microsoft.com/office/2007/relationships/hdphoto" Target="../media/hdphoto1.wd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94.png"/><Relationship Id="rId18" Type="http://schemas.openxmlformats.org/officeDocument/2006/relationships/image" Target="../media/image99.png"/><Relationship Id="rId26" Type="http://schemas.openxmlformats.org/officeDocument/2006/relationships/image" Target="../media/image106.png"/><Relationship Id="rId3" Type="http://schemas.openxmlformats.org/officeDocument/2006/relationships/image" Target="../media/image85.png"/><Relationship Id="rId21" Type="http://schemas.openxmlformats.org/officeDocument/2006/relationships/image" Target="../media/image101.png"/><Relationship Id="rId7" Type="http://schemas.openxmlformats.org/officeDocument/2006/relationships/image" Target="../media/image89.png"/><Relationship Id="rId12" Type="http://schemas.openxmlformats.org/officeDocument/2006/relationships/image" Target="../media/image93.png"/><Relationship Id="rId17" Type="http://schemas.openxmlformats.org/officeDocument/2006/relationships/image" Target="../media/image98.jpeg"/><Relationship Id="rId25" Type="http://schemas.openxmlformats.org/officeDocument/2006/relationships/image" Target="../media/image105.png"/><Relationship Id="rId2" Type="http://schemas.openxmlformats.org/officeDocument/2006/relationships/image" Target="../media/image84.png"/><Relationship Id="rId16" Type="http://schemas.openxmlformats.org/officeDocument/2006/relationships/image" Target="../media/image97.png"/><Relationship Id="rId20" Type="http://schemas.openxmlformats.org/officeDocument/2006/relationships/image" Target="../media/image100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8.png"/><Relationship Id="rId11" Type="http://schemas.openxmlformats.org/officeDocument/2006/relationships/image" Target="../media/image92.png"/><Relationship Id="rId24" Type="http://schemas.openxmlformats.org/officeDocument/2006/relationships/image" Target="../media/image104.png"/><Relationship Id="rId5" Type="http://schemas.openxmlformats.org/officeDocument/2006/relationships/image" Target="../media/image87.png"/><Relationship Id="rId15" Type="http://schemas.openxmlformats.org/officeDocument/2006/relationships/image" Target="../media/image96.png"/><Relationship Id="rId23" Type="http://schemas.openxmlformats.org/officeDocument/2006/relationships/image" Target="../media/image103.png"/><Relationship Id="rId10" Type="http://schemas.openxmlformats.org/officeDocument/2006/relationships/image" Target="../media/image91.png"/><Relationship Id="rId19" Type="http://schemas.microsoft.com/office/2007/relationships/hdphoto" Target="../media/hdphoto2.wdp"/><Relationship Id="rId4" Type="http://schemas.openxmlformats.org/officeDocument/2006/relationships/image" Target="../media/image86.png"/><Relationship Id="rId9" Type="http://schemas.openxmlformats.org/officeDocument/2006/relationships/image" Target="../media/image90.png"/><Relationship Id="rId14" Type="http://schemas.openxmlformats.org/officeDocument/2006/relationships/image" Target="../media/image95.png"/><Relationship Id="rId22" Type="http://schemas.openxmlformats.org/officeDocument/2006/relationships/image" Target="../media/image10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apimroadmap" TargetMode="External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5" Type="http://schemas.microsoft.com/office/2007/relationships/hdphoto" Target="../media/hdphoto3.wdp"/><Relationship Id="rId4" Type="http://schemas.openxmlformats.org/officeDocument/2006/relationships/image" Target="../media/image11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7" Type="http://schemas.openxmlformats.org/officeDocument/2006/relationships/image" Target="../media/image11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9.png"/><Relationship Id="rId5" Type="http://schemas.openxmlformats.org/officeDocument/2006/relationships/image" Target="../media/image113.jpeg"/><Relationship Id="rId4" Type="http://schemas.openxmlformats.org/officeDocument/2006/relationships/image" Target="../media/image112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png"/><Relationship Id="rId3" Type="http://schemas.openxmlformats.org/officeDocument/2006/relationships/image" Target="../media/image116.png"/><Relationship Id="rId7" Type="http://schemas.openxmlformats.org/officeDocument/2006/relationships/image" Target="../media/image120.svg"/><Relationship Id="rId12" Type="http://schemas.openxmlformats.org/officeDocument/2006/relationships/image" Target="../media/image125.sv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1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9.png"/><Relationship Id="rId11" Type="http://schemas.openxmlformats.org/officeDocument/2006/relationships/image" Target="../media/image124.png"/><Relationship Id="rId5" Type="http://schemas.openxmlformats.org/officeDocument/2006/relationships/image" Target="../media/image118.png"/><Relationship Id="rId15" Type="http://schemas.openxmlformats.org/officeDocument/2006/relationships/image" Target="../media/image128.png"/><Relationship Id="rId10" Type="http://schemas.openxmlformats.org/officeDocument/2006/relationships/image" Target="../media/image123.png"/><Relationship Id="rId4" Type="http://schemas.openxmlformats.org/officeDocument/2006/relationships/image" Target="../media/image117.png"/><Relationship Id="rId9" Type="http://schemas.openxmlformats.org/officeDocument/2006/relationships/image" Target="../media/image122.png"/><Relationship Id="rId14" Type="http://schemas.openxmlformats.org/officeDocument/2006/relationships/image" Target="../media/image127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4.png"/><Relationship Id="rId11" Type="http://schemas.openxmlformats.org/officeDocument/2006/relationships/image" Target="../media/image139.png"/><Relationship Id="rId5" Type="http://schemas.openxmlformats.org/officeDocument/2006/relationships/image" Target="../media/image133.png"/><Relationship Id="rId10" Type="http://schemas.openxmlformats.org/officeDocument/2006/relationships/image" Target="../media/image138.png"/><Relationship Id="rId4" Type="http://schemas.openxmlformats.org/officeDocument/2006/relationships/image" Target="../media/image132.png"/><Relationship Id="rId9" Type="http://schemas.openxmlformats.org/officeDocument/2006/relationships/image" Target="../media/image13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13" Type="http://schemas.openxmlformats.org/officeDocument/2006/relationships/image" Target="../media/image149.png"/><Relationship Id="rId3" Type="http://schemas.openxmlformats.org/officeDocument/2006/relationships/image" Target="../media/image140.jpeg"/><Relationship Id="rId7" Type="http://schemas.openxmlformats.org/officeDocument/2006/relationships/image" Target="../media/image144.png"/><Relationship Id="rId12" Type="http://schemas.openxmlformats.org/officeDocument/2006/relationships/image" Target="../media/image148.png"/><Relationship Id="rId17" Type="http://schemas.openxmlformats.org/officeDocument/2006/relationships/image" Target="../media/image152.png"/><Relationship Id="rId2" Type="http://schemas.openxmlformats.org/officeDocument/2006/relationships/notesSlide" Target="../notesSlides/notesSlide30.xml"/><Relationship Id="rId16" Type="http://schemas.microsoft.com/office/2007/relationships/hdphoto" Target="../media/hdphoto5.wdp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43.png"/><Relationship Id="rId11" Type="http://schemas.microsoft.com/office/2007/relationships/hdphoto" Target="../media/hdphoto4.wdp"/><Relationship Id="rId5" Type="http://schemas.openxmlformats.org/officeDocument/2006/relationships/image" Target="../media/image142.png"/><Relationship Id="rId15" Type="http://schemas.openxmlformats.org/officeDocument/2006/relationships/image" Target="../media/image151.png"/><Relationship Id="rId10" Type="http://schemas.openxmlformats.org/officeDocument/2006/relationships/image" Target="../media/image147.png"/><Relationship Id="rId4" Type="http://schemas.openxmlformats.org/officeDocument/2006/relationships/image" Target="../media/image141.png"/><Relationship Id="rId9" Type="http://schemas.openxmlformats.org/officeDocument/2006/relationships/image" Target="../media/image146.png"/><Relationship Id="rId14" Type="http://schemas.openxmlformats.org/officeDocument/2006/relationships/image" Target="../media/image150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9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asabbourfeedbackapi.azurewebsites.net/" TargetMode="External"/><Relationship Id="rId2" Type="http://schemas.openxmlformats.org/officeDocument/2006/relationships/hyperlink" Target="https://asabbourfeedbackweb.azurewebsites.net/" TargetMode="External"/><Relationship Id="rId1" Type="http://schemas.openxmlformats.org/officeDocument/2006/relationships/slideLayout" Target="../slideLayouts/slideLayout9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init" TargetMode="External"/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web.azurewebsites.net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1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1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7.jpe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swagger.json" TargetMode="External"/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1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4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9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14.xml"/></Relationships>
</file>

<file path=ppt/slides/_rels/slide93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23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14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Azure PaaS and </a:t>
            </a:r>
            <a:r>
              <a:rPr lang="en-US" dirty="0" err="1"/>
              <a:t>Serverless</a:t>
            </a:r>
            <a:r>
              <a:rPr lang="en-US" dirty="0"/>
              <a:t> to deliver business innov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1" y="4945062"/>
            <a:ext cx="7315137" cy="1828007"/>
          </a:xfrm>
        </p:spPr>
        <p:txBody>
          <a:bodyPr/>
          <a:lstStyle/>
          <a:p>
            <a:r>
              <a:rPr lang="en-US" dirty="0"/>
              <a:t>Ahmed Sabbour</a:t>
            </a:r>
          </a:p>
          <a:p>
            <a:r>
              <a:rPr lang="en-US" sz="2300" dirty="0"/>
              <a:t>Technology Solution Professional</a:t>
            </a:r>
            <a:br>
              <a:rPr lang="en-US" sz="2300" dirty="0"/>
            </a:br>
            <a:r>
              <a:rPr lang="en-US" sz="2300" dirty="0"/>
              <a:t>OSS Application Development (Containers + DevOps)</a:t>
            </a:r>
            <a:br>
              <a:rPr lang="en-US" sz="2300" dirty="0"/>
            </a:br>
            <a:r>
              <a:rPr lang="en-US" sz="2300" dirty="0"/>
              <a:t>Global Black Bel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677A12F-5E50-41B2-81CE-B42784A6A798}"/>
              </a:ext>
            </a:extLst>
          </p:cNvPr>
          <p:cNvSpPr txBox="1">
            <a:spLocks/>
          </p:cNvSpPr>
          <p:nvPr/>
        </p:nvSpPr>
        <p:spPr bwMode="auto">
          <a:xfrm>
            <a:off x="8885237" y="373062"/>
            <a:ext cx="3337560" cy="533400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r"/>
            <a:r>
              <a:rPr lang="en-US" sz="2800" dirty="0">
                <a:solidFill>
                  <a:schemeClr val="tx1"/>
                </a:solidFill>
                <a:latin typeface="+mn-lt"/>
              </a:rPr>
              <a:t>Technical Bootcamp</a:t>
            </a:r>
            <a:endParaRPr lang="en-US" sz="36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13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A82AD7-C433-4F46-A611-AF83ADE4A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2" y="295730"/>
            <a:ext cx="12057660" cy="917444"/>
          </a:xfrm>
        </p:spPr>
        <p:txBody>
          <a:bodyPr/>
          <a:lstStyle/>
          <a:p>
            <a:r>
              <a:rPr lang="en-US" dirty="0"/>
              <a:t>450K </a:t>
            </a:r>
            <a:r>
              <a:rPr lang="en-US" sz="2800" dirty="0"/>
              <a:t>active customers |</a:t>
            </a:r>
            <a:r>
              <a:rPr lang="en-US" dirty="0"/>
              <a:t> 1.2M </a:t>
            </a:r>
            <a:r>
              <a:rPr lang="en-US" sz="2800" dirty="0"/>
              <a:t>apps &amp; sites hosted |</a:t>
            </a:r>
            <a:r>
              <a:rPr lang="en-US" dirty="0"/>
              <a:t>&gt;13B </a:t>
            </a:r>
            <a:r>
              <a:rPr lang="en-US" sz="2800" dirty="0"/>
              <a:t>requests per da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F1FED64-846E-457C-8A8B-CDD7A45A5412}"/>
              </a:ext>
            </a:extLst>
          </p:cNvPr>
          <p:cNvSpPr/>
          <p:nvPr/>
        </p:nvSpPr>
        <p:spPr bwMode="auto">
          <a:xfrm>
            <a:off x="275482" y="2592886"/>
            <a:ext cx="1915496" cy="131486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ANKING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APITAL MARKE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739B88-D410-4F3F-8B90-8BBBAE0E8426}"/>
              </a:ext>
            </a:extLst>
          </p:cNvPr>
          <p:cNvSpPr/>
          <p:nvPr/>
        </p:nvSpPr>
        <p:spPr bwMode="auto">
          <a:xfrm>
            <a:off x="2269075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ISCRETE MANUFACTUR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18149C-4D67-4434-B424-D3A0005AF747}"/>
              </a:ext>
            </a:extLst>
          </p:cNvPr>
          <p:cNvSpPr/>
          <p:nvPr/>
        </p:nvSpPr>
        <p:spPr bwMode="auto">
          <a:xfrm>
            <a:off x="4262669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EDUC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97EF2B-E946-46B7-BA82-469BF099B37E}"/>
              </a:ext>
            </a:extLst>
          </p:cNvPr>
          <p:cNvSpPr/>
          <p:nvPr/>
        </p:nvSpPr>
        <p:spPr bwMode="auto">
          <a:xfrm>
            <a:off x="6256261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GOVERN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F0A500B-DCCD-45A7-86FA-16035298D65D}"/>
              </a:ext>
            </a:extLst>
          </p:cNvPr>
          <p:cNvSpPr/>
          <p:nvPr/>
        </p:nvSpPr>
        <p:spPr bwMode="auto">
          <a:xfrm>
            <a:off x="8251906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EALTH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E0D8792-BB81-4D51-9D2D-8D9361D1E137}"/>
              </a:ext>
            </a:extLst>
          </p:cNvPr>
          <p:cNvSpPr/>
          <p:nvPr/>
        </p:nvSpPr>
        <p:spPr bwMode="auto">
          <a:xfrm>
            <a:off x="10245499" y="1202783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OSPITALITY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TRAVEL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AEA3C7-9487-4CD4-B0C7-8A185EEF0949}"/>
              </a:ext>
            </a:extLst>
          </p:cNvPr>
          <p:cNvSpPr/>
          <p:nvPr/>
        </p:nvSpPr>
        <p:spPr bwMode="auto">
          <a:xfrm>
            <a:off x="275481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SURANC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1AADAEE-2B3C-4895-87F8-51BC8C73CAD5}"/>
              </a:ext>
            </a:extLst>
          </p:cNvPr>
          <p:cNvSpPr/>
          <p:nvPr/>
        </p:nvSpPr>
        <p:spPr bwMode="auto">
          <a:xfrm>
            <a:off x="4265923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EDIA AND CABL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6B399E-6B57-476B-8806-190B2FC1F31E}"/>
              </a:ext>
            </a:extLst>
          </p:cNvPr>
          <p:cNvSpPr/>
          <p:nvPr/>
        </p:nvSpPr>
        <p:spPr bwMode="auto">
          <a:xfrm>
            <a:off x="6256261" y="3992248"/>
            <a:ext cx="1915496" cy="130740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AND UTILIT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195A5E6-2B23-42F9-9622-CE75DEFC6E1C}"/>
              </a:ext>
            </a:extLst>
          </p:cNvPr>
          <p:cNvSpPr/>
          <p:nvPr/>
        </p:nvSpPr>
        <p:spPr bwMode="auto">
          <a:xfrm>
            <a:off x="8251906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FESSIONAL SERVIC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1D6FEBF-9832-467C-89EE-6B46AC957680}"/>
              </a:ext>
            </a:extLst>
          </p:cNvPr>
          <p:cNvSpPr/>
          <p:nvPr/>
        </p:nvSpPr>
        <p:spPr bwMode="auto">
          <a:xfrm>
            <a:off x="10245499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RETAIL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ONSUMER GOO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EE622F-0C3C-4023-8176-D9C68F96644F}"/>
              </a:ext>
            </a:extLst>
          </p:cNvPr>
          <p:cNvSpPr/>
          <p:nvPr/>
        </p:nvSpPr>
        <p:spPr bwMode="auto">
          <a:xfrm>
            <a:off x="275482" y="1213173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5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GRICULTURE, FORESTRY,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, FISH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382943B-2118-4606-9930-D669434DCAC1}"/>
              </a:ext>
            </a:extLst>
          </p:cNvPr>
          <p:cNvSpPr/>
          <p:nvPr/>
        </p:nvSpPr>
        <p:spPr bwMode="auto">
          <a:xfrm>
            <a:off x="2265820" y="3990687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NPROF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66D7212-12AF-4C2F-AA05-9E4B489C9115}"/>
              </a:ext>
            </a:extLst>
          </p:cNvPr>
          <p:cNvSpPr txBox="1"/>
          <p:nvPr/>
        </p:nvSpPr>
        <p:spPr>
          <a:xfrm>
            <a:off x="270177" y="2138014"/>
            <a:ext cx="1918751" cy="382912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6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igital destination to support 20M hits and fuel more innovation</a:t>
            </a:r>
          </a:p>
        </p:txBody>
      </p:sp>
      <p:pic>
        <p:nvPicPr>
          <p:cNvPr id="72" name="Picture 16" descr="Image result for Royal Agricultural Society of NSW logo">
            <a:hlinkClick r:id="rId3"/>
            <a:extLst>
              <a:ext uri="{FF2B5EF4-FFF2-40B4-BE49-F238E27FC236}">
                <a16:creationId xmlns:a16="http://schemas.microsoft.com/office/drawing/2014/main" id="{7D97C9B6-E951-4FDC-9BEE-B777D62544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388" y="1725496"/>
            <a:ext cx="879262" cy="40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0AE2735E-96BB-4010-8688-FECFCB480CC8}"/>
              </a:ext>
            </a:extLst>
          </p:cNvPr>
          <p:cNvSpPr txBox="1"/>
          <p:nvPr/>
        </p:nvSpPr>
        <p:spPr>
          <a:xfrm>
            <a:off x="270177" y="3524618"/>
            <a:ext cx="1918751" cy="240508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ighly scalable cloud service</a:t>
            </a:r>
          </a:p>
        </p:txBody>
      </p:sp>
      <p:pic>
        <p:nvPicPr>
          <p:cNvPr id="75" name="Picture 18" descr="Story logo">
            <a:hlinkClick r:id="rId5"/>
            <a:extLst>
              <a:ext uri="{FF2B5EF4-FFF2-40B4-BE49-F238E27FC236}">
                <a16:creationId xmlns:a16="http://schemas.microsoft.com/office/drawing/2014/main" id="{3F55E1E8-7FE7-4905-983B-415CE02287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386" y="3128496"/>
            <a:ext cx="629383" cy="337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428EEF96-9636-4E49-8069-5749D455245F}"/>
              </a:ext>
            </a:extLst>
          </p:cNvPr>
          <p:cNvSpPr txBox="1"/>
          <p:nvPr/>
        </p:nvSpPr>
        <p:spPr>
          <a:xfrm>
            <a:off x="2269076" y="2341425"/>
            <a:ext cx="1918751" cy="382912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Get a new auction site up and running faster than ever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F73D80F-3353-4051-8E58-292B041CAE09}"/>
              </a:ext>
            </a:extLst>
          </p:cNvPr>
          <p:cNvSpPr txBox="1"/>
          <p:nvPr/>
        </p:nvSpPr>
        <p:spPr>
          <a:xfrm>
            <a:off x="2280313" y="335585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rowdsourcing gets music from the cloud to the concert hall</a:t>
            </a:r>
          </a:p>
        </p:txBody>
      </p:sp>
      <p:pic>
        <p:nvPicPr>
          <p:cNvPr id="79" name="Picture 4" descr="Image result for auto trader canada logo">
            <a:hlinkClick r:id="rId7"/>
            <a:extLst>
              <a:ext uri="{FF2B5EF4-FFF2-40B4-BE49-F238E27FC236}">
                <a16:creationId xmlns:a16="http://schemas.microsoft.com/office/drawing/2014/main" id="{C73FE7E4-F6E0-4B8B-B549-78F665186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9059" y="1867157"/>
            <a:ext cx="1289697" cy="439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2" descr="Story logo">
            <a:hlinkClick r:id="rId9"/>
            <a:extLst>
              <a:ext uri="{FF2B5EF4-FFF2-40B4-BE49-F238E27FC236}">
                <a16:creationId xmlns:a16="http://schemas.microsoft.com/office/drawing/2014/main" id="{513D07CC-9278-49F2-B548-D74F60B2E3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2419058" y="2859413"/>
            <a:ext cx="1344420" cy="371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3202CD9-37D9-415C-8436-3F7939B27B37}"/>
              </a:ext>
            </a:extLst>
          </p:cNvPr>
          <p:cNvSpPr txBox="1"/>
          <p:nvPr/>
        </p:nvSpPr>
        <p:spPr>
          <a:xfrm>
            <a:off x="4262669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as a platform for modern app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1701C0-2E25-4F75-A459-A189A063CBD6}"/>
              </a:ext>
            </a:extLst>
          </p:cNvPr>
          <p:cNvSpPr txBox="1"/>
          <p:nvPr/>
        </p:nvSpPr>
        <p:spPr>
          <a:xfrm>
            <a:off x="4273905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alyzes how kids learn, delivers 10x speed improvement</a:t>
            </a:r>
          </a:p>
        </p:txBody>
      </p:sp>
      <p:pic>
        <p:nvPicPr>
          <p:cNvPr id="83" name="Picture 2" descr="Story logo">
            <a:hlinkClick r:id="rId11"/>
            <a:extLst>
              <a:ext uri="{FF2B5EF4-FFF2-40B4-BE49-F238E27FC236}">
                <a16:creationId xmlns:a16="http://schemas.microsoft.com/office/drawing/2014/main" id="{6DE5A5C4-F29F-48A5-B1F1-8EA02697E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7443" y="1720813"/>
            <a:ext cx="543061" cy="543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>
            <a:hlinkClick r:id="rId13"/>
            <a:extLst>
              <a:ext uri="{FF2B5EF4-FFF2-40B4-BE49-F238E27FC236}">
                <a16:creationId xmlns:a16="http://schemas.microsoft.com/office/drawing/2014/main" id="{F9C78839-7030-4B66-A47D-2F843C47C79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7442" y="2878352"/>
            <a:ext cx="1040968" cy="318073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C4962849-A4C6-4229-8DA9-18B20EF27E4A}"/>
              </a:ext>
            </a:extLst>
          </p:cNvPr>
          <p:cNvSpPr txBox="1"/>
          <p:nvPr/>
        </p:nvSpPr>
        <p:spPr>
          <a:xfrm>
            <a:off x="6256263" y="2341424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lf-help administration apps </a:t>
            </a: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re hosted by Azure App </a:t>
            </a: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on Azure Governmen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E6A6FDC-6D02-4F50-99E0-9B9603023328}"/>
              </a:ext>
            </a:extLst>
          </p:cNvPr>
          <p:cNvSpPr txBox="1"/>
          <p:nvPr/>
        </p:nvSpPr>
        <p:spPr>
          <a:xfrm>
            <a:off x="6256263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velopers take advantage of Web App to boost innovation and savings</a:t>
            </a:r>
          </a:p>
        </p:txBody>
      </p:sp>
      <p:pic>
        <p:nvPicPr>
          <p:cNvPr id="87" name="Picture 86">
            <a:hlinkClick r:id="rId15"/>
            <a:extLst>
              <a:ext uri="{FF2B5EF4-FFF2-40B4-BE49-F238E27FC236}">
                <a16:creationId xmlns:a16="http://schemas.microsoft.com/office/drawing/2014/main" id="{23339188-B95B-451B-B61E-F28F48C13209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4849" y="1702352"/>
            <a:ext cx="554646" cy="561522"/>
          </a:xfrm>
          <a:prstGeom prst="ellipse">
            <a:avLst/>
          </a:prstGeom>
        </p:spPr>
      </p:pic>
      <p:pic>
        <p:nvPicPr>
          <p:cNvPr id="88" name="Picture 12" descr="Image result for somerset city council logo">
            <a:hlinkClick r:id="rId17"/>
            <a:extLst>
              <a:ext uri="{FF2B5EF4-FFF2-40B4-BE49-F238E27FC236}">
                <a16:creationId xmlns:a16="http://schemas.microsoft.com/office/drawing/2014/main" id="{3CA14107-CF60-4798-8A20-B5F78E462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04850" y="2912537"/>
            <a:ext cx="1117302" cy="44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CF2823A0-CFB6-42C7-851B-09BD2D680A33}"/>
              </a:ext>
            </a:extLst>
          </p:cNvPr>
          <p:cNvSpPr txBox="1"/>
          <p:nvPr/>
        </p:nvSpPr>
        <p:spPr>
          <a:xfrm>
            <a:off x="8251906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urning a discovery into a marketable product easily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5BD2CC-7B56-480E-8A6D-D33A2BC3E6E5}"/>
              </a:ext>
            </a:extLst>
          </p:cNvPr>
          <p:cNvSpPr txBox="1"/>
          <p:nvPr/>
        </p:nvSpPr>
        <p:spPr>
          <a:xfrm>
            <a:off x="8251906" y="3226622"/>
            <a:ext cx="1918751" cy="685074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2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 solutions to Azure App Services and to explore product development in the cloud</a:t>
            </a:r>
          </a:p>
        </p:txBody>
      </p:sp>
      <p:pic>
        <p:nvPicPr>
          <p:cNvPr id="91" name="Picture 8" descr="Story logo">
            <a:hlinkClick r:id="rId19"/>
            <a:extLst>
              <a:ext uri="{FF2B5EF4-FFF2-40B4-BE49-F238E27FC236}">
                <a16:creationId xmlns:a16="http://schemas.microsoft.com/office/drawing/2014/main" id="{5B492DEC-F9DC-4B76-B060-80E273C6FF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99155" y="1827848"/>
            <a:ext cx="844430" cy="43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6" descr="Story logo">
            <a:hlinkClick r:id="rId21"/>
            <a:extLst>
              <a:ext uri="{FF2B5EF4-FFF2-40B4-BE49-F238E27FC236}">
                <a16:creationId xmlns:a16="http://schemas.microsoft.com/office/drawing/2014/main" id="{6D89668C-51BA-4B82-8776-E96CC3CAE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2952330"/>
            <a:ext cx="1116591" cy="22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52019BD-46A2-4598-9B75-ED6FAA8A71C3}"/>
              </a:ext>
            </a:extLst>
          </p:cNvPr>
          <p:cNvSpPr txBox="1"/>
          <p:nvPr/>
        </p:nvSpPr>
        <p:spPr>
          <a:xfrm>
            <a:off x="10245500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 Azure App Service to rewrite its learning platform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F233295-D441-45AA-8A39-10C4CFDDAB84}"/>
              </a:ext>
            </a:extLst>
          </p:cNvPr>
          <p:cNvSpPr txBox="1"/>
          <p:nvPr/>
        </p:nvSpPr>
        <p:spPr>
          <a:xfrm>
            <a:off x="10219503" y="3336601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ong Kong’s largest pizza chain goes cloud and grabs a bigger slice of the market</a:t>
            </a:r>
          </a:p>
        </p:txBody>
      </p:sp>
      <p:pic>
        <p:nvPicPr>
          <p:cNvPr id="95" name="Picture 20" descr="Story logo">
            <a:hlinkClick r:id="rId23"/>
            <a:extLst>
              <a:ext uri="{FF2B5EF4-FFF2-40B4-BE49-F238E27FC236}">
                <a16:creationId xmlns:a16="http://schemas.microsoft.com/office/drawing/2014/main" id="{2D23A22A-5D04-4F26-AC7D-233A6A77A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4" y="1952489"/>
            <a:ext cx="1578505" cy="311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Story logo">
            <a:hlinkClick r:id="rId25"/>
            <a:extLst>
              <a:ext uri="{FF2B5EF4-FFF2-40B4-BE49-F238E27FC236}">
                <a16:creationId xmlns:a16="http://schemas.microsoft.com/office/drawing/2014/main" id="{20CCB357-E392-4D8B-835F-1F35A5EDD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5" y="2878466"/>
            <a:ext cx="1348349" cy="30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5E494A1-9094-47E3-A479-9AFC9BE580EB}"/>
              </a:ext>
            </a:extLst>
          </p:cNvPr>
          <p:cNvSpPr txBox="1"/>
          <p:nvPr/>
        </p:nvSpPr>
        <p:spPr>
          <a:xfrm>
            <a:off x="275482" y="5038982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Insurance firm transforms online servic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B8C7F41-3114-428C-BB23-FD3E7E9DD6BE}"/>
              </a:ext>
            </a:extLst>
          </p:cNvPr>
          <p:cNvSpPr txBox="1"/>
          <p:nvPr/>
        </p:nvSpPr>
        <p:spPr>
          <a:xfrm>
            <a:off x="275482" y="616867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ioneer insurance model with speedy  implementation</a:t>
            </a:r>
          </a:p>
        </p:txBody>
      </p:sp>
      <p:pic>
        <p:nvPicPr>
          <p:cNvPr id="101" name="Picture 10" descr="Story logo">
            <a:hlinkClick r:id="rId27"/>
            <a:extLst>
              <a:ext uri="{FF2B5EF4-FFF2-40B4-BE49-F238E27FC236}">
                <a16:creationId xmlns:a16="http://schemas.microsoft.com/office/drawing/2014/main" id="{D0ECD61C-216C-4227-94EC-F34081367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5" y="4503220"/>
            <a:ext cx="470087" cy="462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2" descr="Story logo">
            <a:hlinkClick r:id="rId29"/>
            <a:extLst>
              <a:ext uri="{FF2B5EF4-FFF2-40B4-BE49-F238E27FC236}">
                <a16:creationId xmlns:a16="http://schemas.microsoft.com/office/drawing/2014/main" id="{318A9F8F-860D-4CA5-96F6-3377C05A1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6" y="5750249"/>
            <a:ext cx="1344420" cy="33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2E5257A5-BCC4-484C-B066-A5A93673C10C}"/>
              </a:ext>
            </a:extLst>
          </p:cNvPr>
          <p:cNvSpPr txBox="1"/>
          <p:nvPr/>
        </p:nvSpPr>
        <p:spPr>
          <a:xfrm>
            <a:off x="4265924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anadian broadcaster delivers record-breaking online election coverag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9DFD5EC-55F5-451B-AFD7-C344FD30C6D3}"/>
              </a:ext>
            </a:extLst>
          </p:cNvPr>
          <p:cNvSpPr txBox="1"/>
          <p:nvPr/>
        </p:nvSpPr>
        <p:spPr>
          <a:xfrm>
            <a:off x="4276744" y="615483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ng the latest tech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ews to 2 million readers worldwide</a:t>
            </a:r>
          </a:p>
        </p:txBody>
      </p:sp>
      <p:pic>
        <p:nvPicPr>
          <p:cNvPr id="109" name="Picture 6" descr="Image result for cbc radio canada logo">
            <a:hlinkClick r:id="rId31"/>
            <a:extLst>
              <a:ext uri="{FF2B5EF4-FFF2-40B4-BE49-F238E27FC236}">
                <a16:creationId xmlns:a16="http://schemas.microsoft.com/office/drawing/2014/main" id="{5269993F-CD26-45A3-82DE-2E6361B51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7" y="4387335"/>
            <a:ext cx="1620006" cy="29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8" descr="Story logo">
            <a:hlinkClick r:id="rId33"/>
            <a:extLst>
              <a:ext uri="{FF2B5EF4-FFF2-40B4-BE49-F238E27FC236}">
                <a16:creationId xmlns:a16="http://schemas.microsoft.com/office/drawing/2014/main" id="{37A2F96B-776A-4BD2-8581-935FFDBBD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6" y="5569962"/>
            <a:ext cx="1153487" cy="25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522A3080-327C-4F70-B439-028BAE10756B}"/>
              </a:ext>
            </a:extLst>
          </p:cNvPr>
          <p:cNvSpPr txBox="1"/>
          <p:nvPr/>
        </p:nvSpPr>
        <p:spPr>
          <a:xfrm>
            <a:off x="2265821" y="4770125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ack-end infrastructure includes Azure App Service integrated with Node.js</a:t>
            </a:r>
            <a:endParaRPr lang="en-US" sz="1049" spc="-30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Image result for medical teams international logo">
            <a:hlinkClick r:id="rId35"/>
            <a:extLst>
              <a:ext uri="{FF2B5EF4-FFF2-40B4-BE49-F238E27FC236}">
                <a16:creationId xmlns:a16="http://schemas.microsoft.com/office/drawing/2014/main" id="{E7DF4AB5-8943-4CA9-9C4C-A4ABE47B4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9725" y="4332135"/>
            <a:ext cx="559573" cy="390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C5E9F81D-57D8-4D3B-9AA9-EEED22E685B6}"/>
              </a:ext>
            </a:extLst>
          </p:cNvPr>
          <p:cNvSpPr txBox="1"/>
          <p:nvPr/>
        </p:nvSpPr>
        <p:spPr>
          <a:xfrm>
            <a:off x="6256263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tools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o include worksheet data within Reactiv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13872F6-2EBD-4C3A-8393-03B3C8F743FE}"/>
              </a:ext>
            </a:extLst>
          </p:cNvPr>
          <p:cNvSpPr/>
          <p:nvPr/>
        </p:nvSpPr>
        <p:spPr bwMode="auto">
          <a:xfrm>
            <a:off x="6256261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10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CESS MANUFACTURING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RESOURCE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B763126-0AF6-4A39-B706-02059F31068F}"/>
              </a:ext>
            </a:extLst>
          </p:cNvPr>
          <p:cNvSpPr txBox="1"/>
          <p:nvPr/>
        </p:nvSpPr>
        <p:spPr>
          <a:xfrm>
            <a:off x="6256263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ansforms onboard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</a:t>
            </a:r>
          </a:p>
        </p:txBody>
      </p:sp>
      <p:pic>
        <p:nvPicPr>
          <p:cNvPr id="116" name="Picture 6" descr="Story logo">
            <a:hlinkClick r:id="rId37"/>
            <a:extLst>
              <a:ext uri="{FF2B5EF4-FFF2-40B4-BE49-F238E27FC236}">
                <a16:creationId xmlns:a16="http://schemas.microsoft.com/office/drawing/2014/main" id="{4A22A3D3-998C-4994-B47A-355DAB7F6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49" y="5864601"/>
            <a:ext cx="493332" cy="40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2" descr="Image result for northpower logo">
            <a:hlinkClick r:id="rId39"/>
            <a:extLst>
              <a:ext uri="{FF2B5EF4-FFF2-40B4-BE49-F238E27FC236}">
                <a16:creationId xmlns:a16="http://schemas.microsoft.com/office/drawing/2014/main" id="{0210F39A-621A-45D4-AE3B-441C1FA8E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50" y="4411758"/>
            <a:ext cx="1117302" cy="27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17">
            <a:hlinkClick r:id="rId41"/>
            <a:extLst>
              <a:ext uri="{FF2B5EF4-FFF2-40B4-BE49-F238E27FC236}">
                <a16:creationId xmlns:a16="http://schemas.microsoft.com/office/drawing/2014/main" id="{F4B80A2D-E56D-4316-89FF-3EE2B02CCCDD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9956" y="4558421"/>
            <a:ext cx="1509911" cy="293187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FCD459C3-80F5-41B0-9F85-3DC9A67F3BE3}"/>
              </a:ext>
            </a:extLst>
          </p:cNvPr>
          <p:cNvSpPr txBox="1"/>
          <p:nvPr/>
        </p:nvSpPr>
        <p:spPr>
          <a:xfrm>
            <a:off x="10256296" y="492463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andles the dynamic resizing of images</a:t>
            </a:r>
          </a:p>
        </p:txBody>
      </p:sp>
      <p:pic>
        <p:nvPicPr>
          <p:cNvPr id="120" name="Picture 10" descr="Story logo">
            <a:hlinkClick r:id="rId43"/>
            <a:extLst>
              <a:ext uri="{FF2B5EF4-FFF2-40B4-BE49-F238E27FC236}">
                <a16:creationId xmlns:a16="http://schemas.microsoft.com/office/drawing/2014/main" id="{1E50D5DF-AFDB-4455-8889-157C8DCB7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6" y="5686634"/>
            <a:ext cx="707233" cy="288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738C80DE-8A2E-4F46-9B3F-177DA4C0B2B3}"/>
              </a:ext>
            </a:extLst>
          </p:cNvPr>
          <p:cNvSpPr txBox="1"/>
          <p:nvPr/>
        </p:nvSpPr>
        <p:spPr>
          <a:xfrm>
            <a:off x="10256296" y="604156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scale automatically for its consumer front end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DA9BF77-E213-434A-9EC2-398F0B100DF5}"/>
              </a:ext>
            </a:extLst>
          </p:cNvPr>
          <p:cNvSpPr txBox="1"/>
          <p:nvPr/>
        </p:nvSpPr>
        <p:spPr>
          <a:xfrm>
            <a:off x="8251906" y="4924630"/>
            <a:ext cx="1918751" cy="67350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ig data and cloud technologies safeguard lives and businesses worldwide with Azure App Servic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E41107D-E890-4E74-A402-1F5ACF3EE651}"/>
              </a:ext>
            </a:extLst>
          </p:cNvPr>
          <p:cNvSpPr txBox="1"/>
          <p:nvPr/>
        </p:nvSpPr>
        <p:spPr>
          <a:xfrm>
            <a:off x="8251906" y="6154838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eps tails wagg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elp from Azure App Services</a:t>
            </a:r>
          </a:p>
        </p:txBody>
      </p:sp>
      <p:pic>
        <p:nvPicPr>
          <p:cNvPr id="125" name="Picture 14" descr="Story logo">
            <a:hlinkClick r:id="rId45"/>
            <a:extLst>
              <a:ext uri="{FF2B5EF4-FFF2-40B4-BE49-F238E27FC236}">
                <a16:creationId xmlns:a16="http://schemas.microsoft.com/office/drawing/2014/main" id="{65E36779-C9EF-4EB8-B9E0-913125DB7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5712411"/>
            <a:ext cx="1116591" cy="368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25">
            <a:hlinkClick r:id="rId47"/>
            <a:extLst>
              <a:ext uri="{FF2B5EF4-FFF2-40B4-BE49-F238E27FC236}">
                <a16:creationId xmlns:a16="http://schemas.microsoft.com/office/drawing/2014/main" id="{FEA9864C-597D-4525-B4B8-C1B145442156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5567" y="4605175"/>
            <a:ext cx="1598803" cy="246432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2BB97644-ABEA-4567-87A5-E3561F7913AD}"/>
              </a:ext>
            </a:extLst>
          </p:cNvPr>
          <p:cNvSpPr/>
          <p:nvPr/>
        </p:nvSpPr>
        <p:spPr bwMode="auto">
          <a:xfrm>
            <a:off x="2262565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2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ELECOMMUNICATIONS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0DB52DA-B1C0-4CF2-8DA5-DAA7320D5DC3}"/>
              </a:ext>
            </a:extLst>
          </p:cNvPr>
          <p:cNvSpPr txBox="1"/>
          <p:nvPr/>
        </p:nvSpPr>
        <p:spPr>
          <a:xfrm>
            <a:off x="2262566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cuts time-to-market by 40%</a:t>
            </a:r>
          </a:p>
        </p:txBody>
      </p:sp>
      <p:pic>
        <p:nvPicPr>
          <p:cNvPr id="130" name="Picture 129">
            <a:hlinkClick r:id="rId49"/>
            <a:extLst>
              <a:ext uri="{FF2B5EF4-FFF2-40B4-BE49-F238E27FC236}">
                <a16:creationId xmlns:a16="http://schemas.microsoft.com/office/drawing/2014/main" id="{0D2B87C5-84F1-45C8-910E-C5A2380CAB42}"/>
              </a:ext>
            </a:extLst>
          </p:cNvPr>
          <p:cNvPicPr>
            <a:picLocks noChangeAspect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9725" y="5795366"/>
            <a:ext cx="1006020" cy="44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11599"/>
      </p:ext>
    </p:extLst>
  </p:cSld>
  <p:clrMapOvr>
    <a:masterClrMapping/>
  </p:clrMapOvr>
  <p:transition>
    <p:fade/>
  </p:transition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4237037" y="4411661"/>
            <a:ext cx="1676400" cy="1676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585398"/>
      </p:ext>
    </p:extLst>
  </p:cSld>
  <p:clrMapOvr>
    <a:masterClrMapping/>
  </p:clrMapOvr>
  <p:transition>
    <p:fade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queue tri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791260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new Queue trigger, pointing to your storage account created earlier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802370" y="2506662"/>
            <a:ext cx="8831735" cy="3505200"/>
            <a:chOff x="1189037" y="2506662"/>
            <a:chExt cx="8831735" cy="3505200"/>
          </a:xfrm>
        </p:grpSpPr>
        <p:grpSp>
          <p:nvGrpSpPr>
            <p:cNvPr id="4" name="Group 3"/>
            <p:cNvGrpSpPr/>
            <p:nvPr/>
          </p:nvGrpSpPr>
          <p:grpSpPr>
            <a:xfrm>
              <a:off x="1189037" y="2506662"/>
              <a:ext cx="4038600" cy="3505200"/>
              <a:chOff x="4922837" y="1439862"/>
              <a:chExt cx="4038600" cy="35052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922837" y="1439862"/>
                <a:ext cx="4038600" cy="3505200"/>
              </a:xfrm>
              <a:prstGeom prst="rect">
                <a:avLst/>
              </a:prstGeom>
            </p:spPr>
          </p:pic>
          <p:sp>
            <p:nvSpPr>
              <p:cNvPr id="7" name="Rectangle 6"/>
              <p:cNvSpPr/>
              <p:nvPr/>
            </p:nvSpPr>
            <p:spPr bwMode="auto">
              <a:xfrm>
                <a:off x="5151437" y="2811464"/>
                <a:ext cx="3581400" cy="12191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6294437" y="4183062"/>
                <a:ext cx="11430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5075237" y="2506662"/>
                <a:ext cx="37338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80037" y="2506662"/>
              <a:ext cx="4640735" cy="248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957038"/>
      </p:ext>
    </p:extLst>
  </p:cSld>
  <p:clrMapOvr>
    <a:masterClrMapping/>
  </p:clrMapOvr>
  <p:transition>
    <p:fad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1787" y="3802062"/>
            <a:ext cx="6692900" cy="22733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Text Analytics a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954655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Text Analytics action to detect sentimen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Cognitive Services account name and key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the text field to be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feedback}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3094037" y="4862512"/>
            <a:ext cx="6248400" cy="42271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71081"/>
      </p:ext>
    </p:extLst>
  </p:cSld>
  <p:clrMapOvr>
    <a:masterClrMapping/>
  </p:clrMapOvr>
  <p:transition>
    <p:fad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3 Add condition, when the sentiment is negati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63121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Whe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core</a:t>
            </a:r>
            <a:r>
              <a:rPr lang="en-US" dirty="0"/>
              <a:t> is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ess than or equal to 0.5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This is a negative sentiment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When this is true, add the next action to get customer detai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 flipV="1">
            <a:off x="0" y="2887662"/>
            <a:ext cx="12436474" cy="324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0577"/>
      </p:ext>
    </p:extLst>
  </p:cSld>
  <p:clrMapOvr>
    <a:masterClrMapping/>
  </p:clrMapOvr>
  <p:transition>
    <p:fad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4 Add API Management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287054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Query API Management for customer name by emai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Use this as the value of the email field, it will extract it out of the message on the queue: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encodeURIComponen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email)}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API Management subscription ke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3037" y="4487862"/>
            <a:ext cx="7010400" cy="38354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auto">
          <a:xfrm>
            <a:off x="3017837" y="5777514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003716" y="6447440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760405"/>
      </p:ext>
    </p:extLst>
  </p:cSld>
  <p:clrMapOvr>
    <a:masterClrMapping/>
  </p:clrMapOvr>
  <p:transition>
    <p:fade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5 Add Generate Coupon Azure Function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1818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Call the Generate Coupon function, passing in the customer name returned from the API Management cal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2386647"/>
            <a:ext cx="7306310" cy="222123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2713037" y="3219772"/>
            <a:ext cx="70104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557369"/>
      </p:ext>
    </p:extLst>
  </p:cSld>
  <p:clrMapOvr>
    <a:masterClrMapping/>
  </p:clrMapOvr>
  <p:transition>
    <p:fade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6 Add Email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8382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your favorite email action to send an email to the customer with the coupon link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it with the email, name and Coupon URL obtained from the previous action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You may use this as the body of the email action:</a:t>
            </a:r>
            <a:br>
              <a:rPr lang="en-US" dirty="0"/>
            </a:b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Dear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tCustomerByEmai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['name']}, we want to make it up to you. Here is a coupon: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nerateCoup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.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CouponUr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}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5402262"/>
            <a:ext cx="7306310" cy="2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70643"/>
      </p:ext>
    </p:extLst>
  </p:cSld>
  <p:clrMapOvr>
    <a:masterClrMapping/>
  </p:clrMapOvr>
  <p:transition>
    <p:fade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247" y="3573462"/>
            <a:ext cx="7459980" cy="30035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7 Delete the message from the queu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17905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Now that you’ve processed this message, delete it from the queue to avoid processing it again. Configure with queue name, message ID and pop receipt ID from the original trigger.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713037" y="4259262"/>
            <a:ext cx="7010400" cy="1524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75265"/>
      </p:ext>
    </p:extLst>
  </p:cSld>
  <p:clrMapOvr>
    <a:masterClrMapping/>
  </p:clrMapOvr>
  <p:transition>
    <p:fade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Full Logic App diagram</a:t>
            </a:r>
            <a:br>
              <a:rPr lang="en-US" dirty="0"/>
            </a:br>
            <a:r>
              <a:rPr lang="en-US" i="1" dirty="0"/>
              <a:t>don’t forget to save!</a:t>
            </a:r>
          </a:p>
        </p:txBody>
      </p:sp>
    </p:spTree>
    <p:extLst>
      <p:ext uri="{BB962C8B-B14F-4D97-AF65-F5344CB8AC3E}">
        <p14:creationId xmlns:p14="http://schemas.microsoft.com/office/powerpoint/2010/main" val="874862799"/>
      </p:ext>
    </p:extLst>
  </p:cSld>
  <p:clrMapOvr>
    <a:masterClrMapping/>
  </p:clrMapOvr>
  <p:transition>
    <p:fade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181862"/>
          </a:xfrm>
        </p:spPr>
        <p:txBody>
          <a:bodyPr/>
          <a:lstStyle/>
          <a:p>
            <a:r>
              <a:rPr lang="en-US" dirty="0"/>
              <a:t>Test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19193543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p Service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323987"/>
          </a:xfrm>
        </p:spPr>
        <p:txBody>
          <a:bodyPr/>
          <a:lstStyle/>
          <a:p>
            <a:r>
              <a:rPr lang="en-US" dirty="0"/>
              <a:t>Web App for Containers (Linux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/>
              <a:t>Run on native Linux platform and bring your own containers</a:t>
            </a:r>
          </a:p>
          <a:p>
            <a:r>
              <a:rPr lang="en-US" dirty="0"/>
              <a:t>App Service Environment v2 (Isolated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 err="1"/>
              <a:t>VNet</a:t>
            </a:r>
            <a:r>
              <a:rPr lang="en-US" dirty="0"/>
              <a:t> integration, easier deployment than v1, faster VMs (Dv2)</a:t>
            </a:r>
          </a:p>
          <a:p>
            <a:r>
              <a:rPr lang="en-US" dirty="0"/>
              <a:t>App Service Premium v2 </a:t>
            </a:r>
            <a:r>
              <a:rPr lang="mr-IN" dirty="0"/>
              <a:t>–</a:t>
            </a:r>
            <a:r>
              <a:rPr lang="en-US" dirty="0"/>
              <a:t> GA </a:t>
            </a:r>
          </a:p>
          <a:p>
            <a:pPr lvl="1"/>
            <a:r>
              <a:rPr lang="en-US" dirty="0"/>
              <a:t>Faster VMs (Dv2) with higher ram to core ratio than Standard tier</a:t>
            </a:r>
          </a:p>
        </p:txBody>
      </p:sp>
    </p:spTree>
    <p:extLst>
      <p:ext uri="{BB962C8B-B14F-4D97-AF65-F5344CB8AC3E}">
        <p14:creationId xmlns:p14="http://schemas.microsoft.com/office/powerpoint/2010/main" val="1074698485"/>
      </p:ext>
    </p:extLst>
  </p:cSld>
  <p:clrMapOvr>
    <a:masterClrMapping/>
  </p:clrMapOvr>
  <p:transition>
    <p:fade/>
  </p:transition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637" y="246098"/>
            <a:ext cx="3776549" cy="23300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237" y="246098"/>
            <a:ext cx="4420949" cy="57805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2237" y="246098"/>
            <a:ext cx="7950200" cy="32131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4148" y="3757559"/>
            <a:ext cx="3074889" cy="22691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5932" y="6293057"/>
            <a:ext cx="19112155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nus (CDN): </a:t>
            </a:r>
            <a:r>
              <a:rPr lang="en-US" sz="3200" dirty="0">
                <a:hlinkClick r:id="rId6" invalidUrl="https://asabbourfeedbackcdn.azureedge.net/coupons/Ahmed Sabbour_89232.jpg"/>
              </a:rPr>
              <a:t>https://</a:t>
            </a:r>
            <a:r>
              <a:rPr lang="en-US" sz="3200" b="1" i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[alias]</a:t>
            </a:r>
            <a:r>
              <a:rPr lang="en-US" sz="3200" b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feedbackcdn.azureedge.net</a:t>
            </a:r>
            <a:r>
              <a:rPr lang="en-US" sz="3200" dirty="0">
                <a:hlinkClick r:id="rId6" invalidUrl="https://asabbourfeedbackcdn.azureedge.net/coupons/Ahmed Sabbour_89232.jpg"/>
              </a:rPr>
              <a:t>/coupons/Ahmed Sabbour_89232.jpg?&lt;sas_token&gt;</a:t>
            </a: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195006"/>
      </p:ext>
    </p:extLst>
  </p:cSld>
  <p:clrMapOvr>
    <a:masterClrMapping/>
  </p:clrMapOvr>
  <p:transition>
    <p:fade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86E47-B6AF-D542-A418-4A188FBA7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sing - 3 questions to you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CA830D-D56B-A543-A624-6C8C71CF47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283702"/>
          </a:xfrm>
        </p:spPr>
        <p:txBody>
          <a:bodyPr/>
          <a:lstStyle/>
          <a:p>
            <a:r>
              <a:rPr lang="en-US" sz="4400" dirty="0"/>
              <a:t>Did you enjoy it?</a:t>
            </a:r>
          </a:p>
          <a:p>
            <a:r>
              <a:rPr lang="en-US" sz="4400" dirty="0"/>
              <a:t>Does it show value to your customers?</a:t>
            </a:r>
          </a:p>
          <a:p>
            <a:r>
              <a:rPr lang="en-US" sz="4400" dirty="0"/>
              <a:t>Can you deliver it with every customer you have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A9E101-A59E-9049-A9C0-587010E9FA34}"/>
              </a:ext>
            </a:extLst>
          </p:cNvPr>
          <p:cNvSpPr txBox="1"/>
          <p:nvPr/>
        </p:nvSpPr>
        <p:spPr>
          <a:xfrm>
            <a:off x="6904037" y="4844660"/>
            <a:ext cx="6489597" cy="3605602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39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123.</a:t>
            </a:r>
          </a:p>
        </p:txBody>
      </p:sp>
    </p:spTree>
    <p:extLst>
      <p:ext uri="{BB962C8B-B14F-4D97-AF65-F5344CB8AC3E}">
        <p14:creationId xmlns:p14="http://schemas.microsoft.com/office/powerpoint/2010/main" val="430288575"/>
      </p:ext>
    </p:extLst>
  </p:cSld>
  <p:clrMapOvr>
    <a:masterClrMapping/>
  </p:clrMapOvr>
  <p:transition>
    <p:fade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1BCF58-D56A-B742-8B84-FD3ADAC78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EF6AF-ECBD-7848-B6B7-DE745B5891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4517647"/>
          </a:xfrm>
        </p:spPr>
        <p:txBody>
          <a:bodyPr/>
          <a:lstStyle/>
          <a:p>
            <a:r>
              <a:rPr lang="en-US" dirty="0"/>
              <a:t>Scenario on </a:t>
            </a:r>
            <a:r>
              <a:rPr lang="en-US" dirty="0" err="1"/>
              <a:t>Github</a:t>
            </a:r>
            <a:r>
              <a:rPr lang="en-US" dirty="0"/>
              <a:t> (presentation + handouts)</a:t>
            </a:r>
            <a:endParaRPr lang="en-US" sz="2000" dirty="0">
              <a:latin typeface="+mn-lt"/>
            </a:endParaRPr>
          </a:p>
          <a:p>
            <a:r>
              <a:rPr lang="en-US" sz="3600" dirty="0">
                <a:latin typeface="+mj-lt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br>
              <a:rPr lang="en-US" sz="2800" dirty="0">
                <a:latin typeface="+mj-lt"/>
                <a:ea typeface="Consolas" charset="0"/>
                <a:cs typeface="Consolas" charset="0"/>
              </a:rPr>
            </a:br>
            <a:endParaRPr lang="en-US" sz="2800" dirty="0">
              <a:latin typeface="+mj-lt"/>
            </a:endParaRPr>
          </a:p>
          <a:p>
            <a:r>
              <a:rPr lang="en-US" dirty="0"/>
              <a:t>Try App Service (no subscription required)</a:t>
            </a:r>
            <a:br>
              <a:rPr lang="en-US" dirty="0"/>
            </a:br>
            <a:r>
              <a:rPr lang="en-US" sz="3600" dirty="0">
                <a:hlinkClick r:id="rId3"/>
              </a:rPr>
              <a:t>http://aka.ms/tryappservice</a:t>
            </a:r>
            <a:r>
              <a:rPr lang="en-US" sz="3600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ry DevOps (no subscription required)</a:t>
            </a:r>
            <a:br>
              <a:rPr lang="en-US" dirty="0"/>
            </a:br>
            <a:r>
              <a:rPr lang="en-US" sz="3600" dirty="0">
                <a:hlinkClick r:id="rId4"/>
              </a:rPr>
              <a:t>http://aka.ms/trydevops</a:t>
            </a:r>
            <a:r>
              <a:rPr lang="en-US" sz="3600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777963"/>
      </p:ext>
    </p:extLst>
  </p:cSld>
  <p:clrMapOvr>
    <a:masterClrMapping/>
  </p:clrMapOvr>
  <p:transition>
    <p:fade/>
  </p:transition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038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42446-7D90-40A9-921E-BBC7209F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App comes to Linux in two forms </a:t>
            </a:r>
          </a:p>
        </p:txBody>
      </p:sp>
      <p:pic>
        <p:nvPicPr>
          <p:cNvPr id="1026" name="Picture 2" descr="Image result for azure we bpp">
            <a:extLst>
              <a:ext uri="{FF2B5EF4-FFF2-40B4-BE49-F238E27FC236}">
                <a16:creationId xmlns:a16="http://schemas.microsoft.com/office/drawing/2014/main" id="{AC8B7808-9E67-46B9-BEE6-EEEF8B5F7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48731" y="2630542"/>
            <a:ext cx="3562392" cy="187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91ADD4-421A-4FFD-B844-0AB853A44E9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583" y="3026581"/>
            <a:ext cx="2198651" cy="2198651"/>
          </a:xfrm>
          <a:prstGeom prst="rect">
            <a:avLst/>
          </a:prstGeom>
        </p:spPr>
      </p:pic>
      <p:pic>
        <p:nvPicPr>
          <p:cNvPr id="13" name="Picture 5" descr="image005">
            <a:extLst>
              <a:ext uri="{FF2B5EF4-FFF2-40B4-BE49-F238E27FC236}">
                <a16:creationId xmlns:a16="http://schemas.microsoft.com/office/drawing/2014/main" id="{152D76E2-F322-40CE-AFAC-F55193414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0440" y="2558687"/>
            <a:ext cx="2724590" cy="213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3DF5353-A288-4079-93EB-5AB279F9F26B}"/>
              </a:ext>
            </a:extLst>
          </p:cNvPr>
          <p:cNvSpPr txBox="1"/>
          <p:nvPr/>
        </p:nvSpPr>
        <p:spPr>
          <a:xfrm>
            <a:off x="1855689" y="1868017"/>
            <a:ext cx="2955434" cy="64716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d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3DD8F4-C327-4290-AF1A-902ACE7A3FEB}"/>
              </a:ext>
            </a:extLst>
          </p:cNvPr>
          <p:cNvSpPr txBox="1"/>
          <p:nvPr/>
        </p:nvSpPr>
        <p:spPr>
          <a:xfrm>
            <a:off x="7074217" y="1918324"/>
            <a:ext cx="3139328" cy="640416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ntainer</a:t>
            </a:r>
          </a:p>
        </p:txBody>
      </p:sp>
    </p:spTree>
    <p:extLst>
      <p:ext uri="{BB962C8B-B14F-4D97-AF65-F5344CB8AC3E}">
        <p14:creationId xmlns:p14="http://schemas.microsoft.com/office/powerpoint/2010/main" val="107346355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Web app for container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31996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834AD3-99AA-4985-8E00-426A7A8B7556}"/>
              </a:ext>
            </a:extLst>
          </p:cNvPr>
          <p:cNvGrpSpPr/>
          <p:nvPr/>
        </p:nvGrpSpPr>
        <p:grpSpPr>
          <a:xfrm>
            <a:off x="6646834" y="4688326"/>
            <a:ext cx="1102605" cy="1262451"/>
            <a:chOff x="6646894" y="4637695"/>
            <a:chExt cx="1102761" cy="1262630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637695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46894" y="5422009"/>
              <a:ext cx="110276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Backup and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20643" y="2900444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CC93C1-BF29-4F4C-A010-DBA9782BEB67}"/>
              </a:ext>
            </a:extLst>
          </p:cNvPr>
          <p:cNvGrpSpPr/>
          <p:nvPr/>
        </p:nvGrpSpPr>
        <p:grpSpPr>
          <a:xfrm>
            <a:off x="8496199" y="4853400"/>
            <a:ext cx="1456244" cy="915415"/>
            <a:chOff x="513514" y="4735511"/>
            <a:chExt cx="1485656" cy="933903"/>
          </a:xfrm>
        </p:grpSpPr>
        <p:sp>
          <p:nvSpPr>
            <p:cNvPr id="52" name="Freeform 118">
              <a:extLst>
                <a:ext uri="{FF2B5EF4-FFF2-40B4-BE49-F238E27FC236}">
                  <a16:creationId xmlns:a16="http://schemas.microsoft.com/office/drawing/2014/main" id="{36BEB77A-547D-4005-8476-28AD1EC32B5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85F483E-2F2A-46BD-8D8E-6557FDA0EF32}"/>
                </a:ext>
              </a:extLst>
            </p:cNvPr>
            <p:cNvSpPr txBox="1"/>
            <p:nvPr/>
          </p:nvSpPr>
          <p:spPr>
            <a:xfrm>
              <a:off x="513514" y="5379331"/>
              <a:ext cx="1485656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2FAF250-C243-4518-9635-635B7DDAC9FD}"/>
              </a:ext>
            </a:extLst>
          </p:cNvPr>
          <p:cNvGrpSpPr/>
          <p:nvPr/>
        </p:nvGrpSpPr>
        <p:grpSpPr>
          <a:xfrm>
            <a:off x="10130683" y="4781080"/>
            <a:ext cx="1770146" cy="987773"/>
            <a:chOff x="2316187" y="4661692"/>
            <a:chExt cx="1805897" cy="1007722"/>
          </a:xfrm>
        </p:grpSpPr>
        <p:sp>
          <p:nvSpPr>
            <p:cNvPr id="55" name="Freeform 144">
              <a:extLst>
                <a:ext uri="{FF2B5EF4-FFF2-40B4-BE49-F238E27FC236}">
                  <a16:creationId xmlns:a16="http://schemas.microsoft.com/office/drawing/2014/main" id="{05111695-FA27-496E-9BA2-3FE76A751C3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E762C8D-08AD-46D2-B0DB-A644F6A38281}"/>
                </a:ext>
              </a:extLst>
            </p:cNvPr>
            <p:cNvSpPr txBox="1"/>
            <p:nvPr/>
          </p:nvSpPr>
          <p:spPr>
            <a:xfrm>
              <a:off x="2316187" y="5379331"/>
              <a:ext cx="1805897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5CE7EA-DBD3-4485-94E5-5C0A37D95983}"/>
              </a:ext>
            </a:extLst>
          </p:cNvPr>
          <p:cNvGrpSpPr/>
          <p:nvPr/>
        </p:nvGrpSpPr>
        <p:grpSpPr>
          <a:xfrm>
            <a:off x="8488024" y="2833850"/>
            <a:ext cx="1472593" cy="1289147"/>
            <a:chOff x="505174" y="2669912"/>
            <a:chExt cx="1502335" cy="1315183"/>
          </a:xfrm>
        </p:grpSpPr>
        <p:sp>
          <p:nvSpPr>
            <p:cNvPr id="58" name="Freeform 90">
              <a:extLst>
                <a:ext uri="{FF2B5EF4-FFF2-40B4-BE49-F238E27FC236}">
                  <a16:creationId xmlns:a16="http://schemas.microsoft.com/office/drawing/2014/main" id="{A4CA7453-D563-4ACF-B2E0-AB115343EA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61236E6-8091-434B-B109-8EAB48268C77}"/>
                </a:ext>
              </a:extLst>
            </p:cNvPr>
            <p:cNvSpPr txBox="1"/>
            <p:nvPr/>
          </p:nvSpPr>
          <p:spPr>
            <a:xfrm>
              <a:off x="505174" y="3497262"/>
              <a:ext cx="1502335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C70F198-5EDA-4E0C-B7AB-323C484A59DF}"/>
              </a:ext>
            </a:extLst>
          </p:cNvPr>
          <p:cNvGrpSpPr/>
          <p:nvPr/>
        </p:nvGrpSpPr>
        <p:grpSpPr>
          <a:xfrm>
            <a:off x="695337" y="4804729"/>
            <a:ext cx="1055689" cy="1153598"/>
            <a:chOff x="8674393" y="4690267"/>
            <a:chExt cx="1077011" cy="1176897"/>
          </a:xfrm>
        </p:grpSpPr>
        <p:sp>
          <p:nvSpPr>
            <p:cNvPr id="83" name="Freeform 150">
              <a:extLst>
                <a:ext uri="{FF2B5EF4-FFF2-40B4-BE49-F238E27FC236}">
                  <a16:creationId xmlns:a16="http://schemas.microsoft.com/office/drawing/2014/main" id="{09C7C887-4101-4F45-BC52-5D02344649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0A394DD-D08D-4893-BF82-F9C0DFB3BD75}"/>
                </a:ext>
              </a:extLst>
            </p:cNvPr>
            <p:cNvSpPr txBox="1"/>
            <p:nvPr/>
          </p:nvSpPr>
          <p:spPr>
            <a:xfrm>
              <a:off x="8674393" y="5379331"/>
              <a:ext cx="1077011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Testing in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production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411BC74-024B-4AFC-9BF7-6450F15A80CC}"/>
              </a:ext>
            </a:extLst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22" name="TextBox 121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620AAE37-7503-4A20-89C8-09E5B739A4E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668FDCCF-2B93-4E23-A2CE-878E7511A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6FF360E8-CA42-4718-933E-980A26AE93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84526AC8-102C-4F13-9F23-9D41C7450B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CE5F39FB-1BBB-4A5B-8DC8-58C7586C2B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1F66682D-8BE5-4C2E-94A7-4F5386D7BF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B42D067B-BF61-4AFA-B282-940AC51B73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74B18CF1-E700-407E-A678-57C808046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DA6FB63C-6852-44AE-8FEE-7213D322C5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44B55811-B457-4BAE-95C5-734BC5F11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6728D074-6AFD-4D2F-874A-953715599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C04A86A2-FF41-4090-A225-8E6F7DE45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137E781E-527F-4A26-AA7D-958986E32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B15285D0-408A-4779-9CA6-DD9BC8E53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96" name="Picture 5" descr="image005">
            <a:extLst>
              <a:ext uri="{FF2B5EF4-FFF2-40B4-BE49-F238E27FC236}">
                <a16:creationId xmlns:a16="http://schemas.microsoft.com/office/drawing/2014/main" id="{BC1554CC-FD44-4DEC-A11C-4C20ABA47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208" y="199740"/>
            <a:ext cx="1260299" cy="98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3A9FB70-AE8B-4CC7-9D1A-9323752E2DA4}"/>
              </a:ext>
            </a:extLst>
          </p:cNvPr>
          <p:cNvGrpSpPr/>
          <p:nvPr/>
        </p:nvGrpSpPr>
        <p:grpSpPr>
          <a:xfrm>
            <a:off x="4667075" y="4788025"/>
            <a:ext cx="1278910" cy="1162752"/>
            <a:chOff x="4594284" y="4788209"/>
            <a:chExt cx="1279091" cy="1162916"/>
          </a:xfrm>
        </p:grpSpPr>
        <p:sp>
          <p:nvSpPr>
            <p:cNvPr id="125" name="TextBox 124"/>
            <p:cNvSpPr txBox="1"/>
            <p:nvPr/>
          </p:nvSpPr>
          <p:spPr>
            <a:xfrm>
              <a:off x="4594284" y="5472809"/>
              <a:ext cx="127909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Monitoring </a:t>
              </a:r>
            </a:p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and diagnosi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EE4907A-13C6-4C70-8782-A74D4F50AB6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0081" y="4788209"/>
              <a:ext cx="627497" cy="570804"/>
              <a:chOff x="4048125" y="3987800"/>
              <a:chExt cx="773113" cy="703263"/>
            </a:xfrm>
            <a:solidFill>
              <a:srgbClr val="FFFFFF"/>
            </a:solidFill>
          </p:grpSpPr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A58179A4-796B-4A26-9719-7FE5A856C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8313" y="4595813"/>
                <a:ext cx="311150" cy="69850"/>
              </a:xfrm>
              <a:custGeom>
                <a:avLst/>
                <a:gdLst>
                  <a:gd name="T0" fmla="*/ 0 w 152"/>
                  <a:gd name="T1" fmla="*/ 34 h 34"/>
                  <a:gd name="T2" fmla="*/ 152 w 152"/>
                  <a:gd name="T3" fmla="*/ 34 h 34"/>
                  <a:gd name="T4" fmla="*/ 131 w 152"/>
                  <a:gd name="T5" fmla="*/ 0 h 34"/>
                  <a:gd name="T6" fmla="*/ 21 w 152"/>
                  <a:gd name="T7" fmla="*/ 0 h 34"/>
                  <a:gd name="T8" fmla="*/ 0 w 15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34">
                    <a:moveTo>
                      <a:pt x="0" y="34"/>
                    </a:moveTo>
                    <a:cubicBezTo>
                      <a:pt x="152" y="34"/>
                      <a:pt x="152" y="34"/>
                      <a:pt x="152" y="34"/>
                    </a:cubicBezTo>
                    <a:cubicBezTo>
                      <a:pt x="128" y="27"/>
                      <a:pt x="122" y="10"/>
                      <a:pt x="13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30" y="10"/>
                      <a:pt x="24" y="27"/>
                      <a:pt x="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7" name="Freeform 21">
                <a:extLst>
                  <a:ext uri="{FF2B5EF4-FFF2-40B4-BE49-F238E27FC236}">
                    <a16:creationId xmlns:a16="http://schemas.microsoft.com/office/drawing/2014/main" id="{E364A434-E103-4047-9A46-12BE9094D5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8125" y="3987800"/>
                <a:ext cx="773113" cy="584200"/>
              </a:xfrm>
              <a:custGeom>
                <a:avLst/>
                <a:gdLst>
                  <a:gd name="T0" fmla="*/ 358 w 378"/>
                  <a:gd name="T1" fmla="*/ 0 h 285"/>
                  <a:gd name="T2" fmla="*/ 20 w 378"/>
                  <a:gd name="T3" fmla="*/ 0 h 285"/>
                  <a:gd name="T4" fmla="*/ 0 w 378"/>
                  <a:gd name="T5" fmla="*/ 20 h 285"/>
                  <a:gd name="T6" fmla="*/ 0 w 378"/>
                  <a:gd name="T7" fmla="*/ 265 h 285"/>
                  <a:gd name="T8" fmla="*/ 20 w 378"/>
                  <a:gd name="T9" fmla="*/ 285 h 285"/>
                  <a:gd name="T10" fmla="*/ 358 w 378"/>
                  <a:gd name="T11" fmla="*/ 285 h 285"/>
                  <a:gd name="T12" fmla="*/ 378 w 378"/>
                  <a:gd name="T13" fmla="*/ 265 h 285"/>
                  <a:gd name="T14" fmla="*/ 378 w 378"/>
                  <a:gd name="T15" fmla="*/ 20 h 285"/>
                  <a:gd name="T16" fmla="*/ 358 w 378"/>
                  <a:gd name="T17" fmla="*/ 0 h 285"/>
                  <a:gd name="T18" fmla="*/ 189 w 378"/>
                  <a:gd name="T19" fmla="*/ 273 h 285"/>
                  <a:gd name="T20" fmla="*/ 177 w 378"/>
                  <a:gd name="T21" fmla="*/ 261 h 285"/>
                  <a:gd name="T22" fmla="*/ 189 w 378"/>
                  <a:gd name="T23" fmla="*/ 249 h 285"/>
                  <a:gd name="T24" fmla="*/ 201 w 378"/>
                  <a:gd name="T25" fmla="*/ 261 h 285"/>
                  <a:gd name="T26" fmla="*/ 189 w 378"/>
                  <a:gd name="T27" fmla="*/ 273 h 285"/>
                  <a:gd name="T28" fmla="*/ 348 w 378"/>
                  <a:gd name="T29" fmla="*/ 234 h 285"/>
                  <a:gd name="T30" fmla="*/ 344 w 378"/>
                  <a:gd name="T31" fmla="*/ 238 h 285"/>
                  <a:gd name="T32" fmla="*/ 34 w 378"/>
                  <a:gd name="T33" fmla="*/ 238 h 285"/>
                  <a:gd name="T34" fmla="*/ 30 w 378"/>
                  <a:gd name="T35" fmla="*/ 234 h 285"/>
                  <a:gd name="T36" fmla="*/ 30 w 378"/>
                  <a:gd name="T37" fmla="*/ 33 h 285"/>
                  <a:gd name="T38" fmla="*/ 34 w 378"/>
                  <a:gd name="T39" fmla="*/ 29 h 285"/>
                  <a:gd name="T40" fmla="*/ 344 w 378"/>
                  <a:gd name="T41" fmla="*/ 29 h 285"/>
                  <a:gd name="T42" fmla="*/ 348 w 378"/>
                  <a:gd name="T43" fmla="*/ 33 h 285"/>
                  <a:gd name="T44" fmla="*/ 348 w 378"/>
                  <a:gd name="T45" fmla="*/ 234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8" h="285">
                    <a:moveTo>
                      <a:pt x="358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65"/>
                      <a:pt x="0" y="265"/>
                      <a:pt x="0" y="265"/>
                    </a:cubicBezTo>
                    <a:cubicBezTo>
                      <a:pt x="0" y="276"/>
                      <a:pt x="9" y="285"/>
                      <a:pt x="20" y="285"/>
                    </a:cubicBezTo>
                    <a:cubicBezTo>
                      <a:pt x="358" y="285"/>
                      <a:pt x="358" y="285"/>
                      <a:pt x="358" y="285"/>
                    </a:cubicBezTo>
                    <a:cubicBezTo>
                      <a:pt x="369" y="285"/>
                      <a:pt x="378" y="276"/>
                      <a:pt x="378" y="265"/>
                    </a:cubicBezTo>
                    <a:cubicBezTo>
                      <a:pt x="378" y="20"/>
                      <a:pt x="378" y="20"/>
                      <a:pt x="378" y="20"/>
                    </a:cubicBezTo>
                    <a:cubicBezTo>
                      <a:pt x="378" y="9"/>
                      <a:pt x="369" y="0"/>
                      <a:pt x="358" y="0"/>
                    </a:cubicBezTo>
                    <a:close/>
                    <a:moveTo>
                      <a:pt x="189" y="273"/>
                    </a:moveTo>
                    <a:cubicBezTo>
                      <a:pt x="182" y="273"/>
                      <a:pt x="177" y="268"/>
                      <a:pt x="177" y="261"/>
                    </a:cubicBezTo>
                    <a:cubicBezTo>
                      <a:pt x="177" y="254"/>
                      <a:pt x="182" y="249"/>
                      <a:pt x="189" y="249"/>
                    </a:cubicBezTo>
                    <a:cubicBezTo>
                      <a:pt x="196" y="249"/>
                      <a:pt x="201" y="254"/>
                      <a:pt x="201" y="261"/>
                    </a:cubicBezTo>
                    <a:cubicBezTo>
                      <a:pt x="201" y="268"/>
                      <a:pt x="196" y="273"/>
                      <a:pt x="189" y="273"/>
                    </a:cubicBezTo>
                    <a:close/>
                    <a:moveTo>
                      <a:pt x="348" y="234"/>
                    </a:moveTo>
                    <a:cubicBezTo>
                      <a:pt x="348" y="236"/>
                      <a:pt x="346" y="238"/>
                      <a:pt x="344" y="238"/>
                    </a:cubicBezTo>
                    <a:cubicBezTo>
                      <a:pt x="34" y="238"/>
                      <a:pt x="34" y="238"/>
                      <a:pt x="34" y="238"/>
                    </a:cubicBezTo>
                    <a:cubicBezTo>
                      <a:pt x="32" y="238"/>
                      <a:pt x="30" y="236"/>
                      <a:pt x="30" y="2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0" y="31"/>
                      <a:pt x="32" y="29"/>
                      <a:pt x="34" y="29"/>
                    </a:cubicBezTo>
                    <a:cubicBezTo>
                      <a:pt x="344" y="29"/>
                      <a:pt x="344" y="29"/>
                      <a:pt x="344" y="29"/>
                    </a:cubicBezTo>
                    <a:cubicBezTo>
                      <a:pt x="346" y="29"/>
                      <a:pt x="348" y="31"/>
                      <a:pt x="348" y="33"/>
                    </a:cubicBezTo>
                    <a:lnTo>
                      <a:pt x="348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D14DCB3E-153F-4CC4-981D-8637E1E8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188" y="4140200"/>
                <a:ext cx="533400" cy="258762"/>
              </a:xfrm>
              <a:custGeom>
                <a:avLst/>
                <a:gdLst>
                  <a:gd name="T0" fmla="*/ 257 w 261"/>
                  <a:gd name="T1" fmla="*/ 3 h 127"/>
                  <a:gd name="T2" fmla="*/ 246 w 261"/>
                  <a:gd name="T3" fmla="*/ 4 h 127"/>
                  <a:gd name="T4" fmla="*/ 193 w 261"/>
                  <a:gd name="T5" fmla="*/ 71 h 127"/>
                  <a:gd name="T6" fmla="*/ 141 w 261"/>
                  <a:gd name="T7" fmla="*/ 30 h 127"/>
                  <a:gd name="T8" fmla="*/ 135 w 261"/>
                  <a:gd name="T9" fmla="*/ 29 h 127"/>
                  <a:gd name="T10" fmla="*/ 129 w 261"/>
                  <a:gd name="T11" fmla="*/ 32 h 127"/>
                  <a:gd name="T12" fmla="*/ 90 w 261"/>
                  <a:gd name="T13" fmla="*/ 82 h 127"/>
                  <a:gd name="T14" fmla="*/ 63 w 261"/>
                  <a:gd name="T15" fmla="*/ 58 h 127"/>
                  <a:gd name="T16" fmla="*/ 57 w 261"/>
                  <a:gd name="T17" fmla="*/ 56 h 127"/>
                  <a:gd name="T18" fmla="*/ 52 w 261"/>
                  <a:gd name="T19" fmla="*/ 58 h 127"/>
                  <a:gd name="T20" fmla="*/ 3 w 261"/>
                  <a:gd name="T21" fmla="*/ 114 h 127"/>
                  <a:gd name="T22" fmla="*/ 3 w 261"/>
                  <a:gd name="T23" fmla="*/ 125 h 127"/>
                  <a:gd name="T24" fmla="*/ 9 w 261"/>
                  <a:gd name="T25" fmla="*/ 127 h 127"/>
                  <a:gd name="T26" fmla="*/ 15 w 261"/>
                  <a:gd name="T27" fmla="*/ 125 h 127"/>
                  <a:gd name="T28" fmla="*/ 58 w 261"/>
                  <a:gd name="T29" fmla="*/ 75 h 127"/>
                  <a:gd name="T30" fmla="*/ 86 w 261"/>
                  <a:gd name="T31" fmla="*/ 100 h 127"/>
                  <a:gd name="T32" fmla="*/ 92 w 261"/>
                  <a:gd name="T33" fmla="*/ 102 h 127"/>
                  <a:gd name="T34" fmla="*/ 98 w 261"/>
                  <a:gd name="T35" fmla="*/ 99 h 127"/>
                  <a:gd name="T36" fmla="*/ 137 w 261"/>
                  <a:gd name="T37" fmla="*/ 48 h 127"/>
                  <a:gd name="T38" fmla="*/ 189 w 261"/>
                  <a:gd name="T39" fmla="*/ 88 h 127"/>
                  <a:gd name="T40" fmla="*/ 200 w 261"/>
                  <a:gd name="T41" fmla="*/ 87 h 127"/>
                  <a:gd name="T42" fmla="*/ 258 w 261"/>
                  <a:gd name="T43" fmla="*/ 14 h 127"/>
                  <a:gd name="T44" fmla="*/ 257 w 261"/>
                  <a:gd name="T45" fmla="*/ 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" h="127">
                    <a:moveTo>
                      <a:pt x="257" y="3"/>
                    </a:moveTo>
                    <a:cubicBezTo>
                      <a:pt x="254" y="0"/>
                      <a:pt x="249" y="1"/>
                      <a:pt x="246" y="4"/>
                    </a:cubicBezTo>
                    <a:cubicBezTo>
                      <a:pt x="193" y="71"/>
                      <a:pt x="193" y="71"/>
                      <a:pt x="193" y="71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9" y="29"/>
                      <a:pt x="137" y="28"/>
                      <a:pt x="135" y="29"/>
                    </a:cubicBezTo>
                    <a:cubicBezTo>
                      <a:pt x="133" y="29"/>
                      <a:pt x="131" y="30"/>
                      <a:pt x="129" y="3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61" y="56"/>
                      <a:pt x="59" y="55"/>
                      <a:pt x="57" y="56"/>
                    </a:cubicBezTo>
                    <a:cubicBezTo>
                      <a:pt x="55" y="56"/>
                      <a:pt x="53" y="57"/>
                      <a:pt x="52" y="58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117"/>
                      <a:pt x="0" y="123"/>
                      <a:pt x="3" y="125"/>
                    </a:cubicBezTo>
                    <a:cubicBezTo>
                      <a:pt x="5" y="127"/>
                      <a:pt x="7" y="127"/>
                      <a:pt x="9" y="127"/>
                    </a:cubicBezTo>
                    <a:cubicBezTo>
                      <a:pt x="11" y="127"/>
                      <a:pt x="13" y="127"/>
                      <a:pt x="15" y="125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8" y="101"/>
                      <a:pt x="90" y="102"/>
                      <a:pt x="92" y="102"/>
                    </a:cubicBezTo>
                    <a:cubicBezTo>
                      <a:pt x="94" y="101"/>
                      <a:pt x="96" y="100"/>
                      <a:pt x="98" y="99"/>
                    </a:cubicBezTo>
                    <a:cubicBezTo>
                      <a:pt x="137" y="48"/>
                      <a:pt x="137" y="48"/>
                      <a:pt x="137" y="48"/>
                    </a:cubicBezTo>
                    <a:cubicBezTo>
                      <a:pt x="189" y="88"/>
                      <a:pt x="189" y="88"/>
                      <a:pt x="189" y="88"/>
                    </a:cubicBezTo>
                    <a:cubicBezTo>
                      <a:pt x="192" y="91"/>
                      <a:pt x="197" y="90"/>
                      <a:pt x="200" y="87"/>
                    </a:cubicBezTo>
                    <a:cubicBezTo>
                      <a:pt x="258" y="14"/>
                      <a:pt x="258" y="14"/>
                      <a:pt x="258" y="14"/>
                    </a:cubicBezTo>
                    <a:cubicBezTo>
                      <a:pt x="261" y="11"/>
                      <a:pt x="261" y="6"/>
                      <a:pt x="25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07" name="Rectangle 23">
                <a:extLst>
                  <a:ext uri="{FF2B5EF4-FFF2-40B4-BE49-F238E27FC236}">
                    <a16:creationId xmlns:a16="http://schemas.microsoft.com/office/drawing/2014/main" id="{139A3AAF-C2CF-4550-9407-43AED9C1F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8313" y="4665663"/>
                <a:ext cx="311150" cy="25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853DE75-83FF-4EEB-8B68-F1D1430ED07E}"/>
              </a:ext>
            </a:extLst>
          </p:cNvPr>
          <p:cNvGrpSpPr/>
          <p:nvPr/>
        </p:nvGrpSpPr>
        <p:grpSpPr>
          <a:xfrm>
            <a:off x="2397874" y="2933316"/>
            <a:ext cx="1147245" cy="1189752"/>
            <a:chOff x="2397331" y="2933236"/>
            <a:chExt cx="1147407" cy="118992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7A8105D1-675D-4D8A-901A-81CB5CFEE871}"/>
                </a:ext>
              </a:extLst>
            </p:cNvPr>
            <p:cNvSpPr txBox="1"/>
            <p:nvPr/>
          </p:nvSpPr>
          <p:spPr>
            <a:xfrm>
              <a:off x="2397331" y="3644913"/>
              <a:ext cx="1147407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I/CD build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deploy </a:t>
              </a:r>
            </a:p>
          </p:txBody>
        </p:sp>
        <p:grpSp>
          <p:nvGrpSpPr>
            <p:cNvPr id="152" name="Group 4">
              <a:extLst>
                <a:ext uri="{FF2B5EF4-FFF2-40B4-BE49-F238E27FC236}">
                  <a16:creationId xmlns:a16="http://schemas.microsoft.com/office/drawing/2014/main" id="{BAA2D638-DDC1-47C1-9BC8-80E8D9ABDFC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67644" y="2933236"/>
              <a:ext cx="806782" cy="673030"/>
              <a:chOff x="5006" y="441"/>
              <a:chExt cx="567" cy="473"/>
            </a:xfrm>
          </p:grpSpPr>
          <p:sp>
            <p:nvSpPr>
              <p:cNvPr id="153" name="Freeform 5">
                <a:extLst>
                  <a:ext uri="{FF2B5EF4-FFF2-40B4-BE49-F238E27FC236}">
                    <a16:creationId xmlns:a16="http://schemas.microsoft.com/office/drawing/2014/main" id="{F3BCE6F9-671A-4977-8504-FAF923B3F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1" y="441"/>
                <a:ext cx="214" cy="213"/>
              </a:xfrm>
              <a:custGeom>
                <a:avLst/>
                <a:gdLst>
                  <a:gd name="T0" fmla="*/ 432 w 432"/>
                  <a:gd name="T1" fmla="*/ 191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9 h 432"/>
                  <a:gd name="T14" fmla="*/ 294 w 432"/>
                  <a:gd name="T15" fmla="*/ 74 h 432"/>
                  <a:gd name="T16" fmla="*/ 261 w 432"/>
                  <a:gd name="T17" fmla="*/ 60 h 432"/>
                  <a:gd name="T18" fmla="*/ 239 w 432"/>
                  <a:gd name="T19" fmla="*/ 0 h 432"/>
                  <a:gd name="T20" fmla="*/ 190 w 432"/>
                  <a:gd name="T21" fmla="*/ 0 h 432"/>
                  <a:gd name="T22" fmla="*/ 188 w 432"/>
                  <a:gd name="T23" fmla="*/ 7 h 432"/>
                  <a:gd name="T24" fmla="*/ 171 w 432"/>
                  <a:gd name="T25" fmla="*/ 60 h 432"/>
                  <a:gd name="T26" fmla="*/ 137 w 432"/>
                  <a:gd name="T27" fmla="*/ 74 h 432"/>
                  <a:gd name="T28" fmla="*/ 80 w 432"/>
                  <a:gd name="T29" fmla="*/ 47 h 432"/>
                  <a:gd name="T30" fmla="*/ 45 w 432"/>
                  <a:gd name="T31" fmla="*/ 82 h 432"/>
                  <a:gd name="T32" fmla="*/ 49 w 432"/>
                  <a:gd name="T33" fmla="*/ 88 h 432"/>
                  <a:gd name="T34" fmla="*/ 73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3 h 432"/>
                  <a:gd name="T40" fmla="*/ 0 w 432"/>
                  <a:gd name="T41" fmla="*/ 242 h 432"/>
                  <a:gd name="T42" fmla="*/ 7 w 432"/>
                  <a:gd name="T43" fmla="*/ 244 h 432"/>
                  <a:gd name="T44" fmla="*/ 59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7 h 432"/>
                  <a:gd name="T52" fmla="*/ 87 w 432"/>
                  <a:gd name="T53" fmla="*/ 384 h 432"/>
                  <a:gd name="T54" fmla="*/ 137 w 432"/>
                  <a:gd name="T55" fmla="*/ 359 h 432"/>
                  <a:gd name="T56" fmla="*/ 171 w 432"/>
                  <a:gd name="T57" fmla="*/ 373 h 432"/>
                  <a:gd name="T58" fmla="*/ 192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3 h 432"/>
                  <a:gd name="T66" fmla="*/ 295 w 432"/>
                  <a:gd name="T67" fmla="*/ 359 h 432"/>
                  <a:gd name="T68" fmla="*/ 352 w 432"/>
                  <a:gd name="T69" fmla="*/ 386 h 432"/>
                  <a:gd name="T70" fmla="*/ 387 w 432"/>
                  <a:gd name="T71" fmla="*/ 351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1 h 432"/>
                  <a:gd name="T78" fmla="*/ 431 w 432"/>
                  <a:gd name="T79" fmla="*/ 240 h 432"/>
                  <a:gd name="T80" fmla="*/ 432 w 432"/>
                  <a:gd name="T81" fmla="*/ 191 h 432"/>
                  <a:gd name="T82" fmla="*/ 294 w 432"/>
                  <a:gd name="T83" fmla="*/ 216 h 432"/>
                  <a:gd name="T84" fmla="*/ 216 w 432"/>
                  <a:gd name="T85" fmla="*/ 294 h 432"/>
                  <a:gd name="T86" fmla="*/ 137 w 432"/>
                  <a:gd name="T87" fmla="*/ 216 h 432"/>
                  <a:gd name="T88" fmla="*/ 216 w 432"/>
                  <a:gd name="T89" fmla="*/ 138 h 432"/>
                  <a:gd name="T90" fmla="*/ 294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1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9"/>
                      <a:pt x="344" y="49"/>
                      <a:pt x="344" y="49"/>
                    </a:cubicBezTo>
                    <a:cubicBezTo>
                      <a:pt x="294" y="74"/>
                      <a:pt x="294" y="74"/>
                      <a:pt x="294" y="74"/>
                    </a:cubicBezTo>
                    <a:cubicBezTo>
                      <a:pt x="261" y="60"/>
                      <a:pt x="261" y="60"/>
                      <a:pt x="261" y="6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37" y="74"/>
                      <a:pt x="137" y="74"/>
                      <a:pt x="137" y="74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59" y="261"/>
                      <a:pt x="59" y="261"/>
                      <a:pt x="59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7"/>
                      <a:pt x="81" y="387"/>
                      <a:pt x="81" y="387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137" y="359"/>
                      <a:pt x="137" y="359"/>
                      <a:pt x="137" y="359"/>
                    </a:cubicBezTo>
                    <a:cubicBezTo>
                      <a:pt x="171" y="373"/>
                      <a:pt x="171" y="373"/>
                      <a:pt x="171" y="373"/>
                    </a:cubicBezTo>
                    <a:cubicBezTo>
                      <a:pt x="192" y="432"/>
                      <a:pt x="192" y="432"/>
                      <a:pt x="192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3"/>
                      <a:pt x="261" y="373"/>
                      <a:pt x="261" y="373"/>
                    </a:cubicBezTo>
                    <a:cubicBezTo>
                      <a:pt x="295" y="359"/>
                      <a:pt x="295" y="359"/>
                      <a:pt x="295" y="359"/>
                    </a:cubicBezTo>
                    <a:cubicBezTo>
                      <a:pt x="352" y="386"/>
                      <a:pt x="352" y="386"/>
                      <a:pt x="352" y="386"/>
                    </a:cubicBezTo>
                    <a:cubicBezTo>
                      <a:pt x="387" y="351"/>
                      <a:pt x="387" y="351"/>
                      <a:pt x="387" y="351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1"/>
                      <a:pt x="372" y="261"/>
                      <a:pt x="372" y="261"/>
                    </a:cubicBezTo>
                    <a:cubicBezTo>
                      <a:pt x="431" y="240"/>
                      <a:pt x="431" y="240"/>
                      <a:pt x="431" y="240"/>
                    </a:cubicBezTo>
                    <a:cubicBezTo>
                      <a:pt x="432" y="191"/>
                      <a:pt x="432" y="191"/>
                      <a:pt x="432" y="191"/>
                    </a:cubicBezTo>
                    <a:close/>
                    <a:moveTo>
                      <a:pt x="294" y="216"/>
                    </a:moveTo>
                    <a:cubicBezTo>
                      <a:pt x="294" y="259"/>
                      <a:pt x="259" y="294"/>
                      <a:pt x="216" y="294"/>
                    </a:cubicBezTo>
                    <a:cubicBezTo>
                      <a:pt x="173" y="294"/>
                      <a:pt x="137" y="259"/>
                      <a:pt x="137" y="216"/>
                    </a:cubicBezTo>
                    <a:cubicBezTo>
                      <a:pt x="137" y="173"/>
                      <a:pt x="173" y="138"/>
                      <a:pt x="216" y="138"/>
                    </a:cubicBezTo>
                    <a:cubicBezTo>
                      <a:pt x="259" y="138"/>
                      <a:pt x="294" y="173"/>
                      <a:pt x="294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6">
                <a:extLst>
                  <a:ext uri="{FF2B5EF4-FFF2-40B4-BE49-F238E27FC236}">
                    <a16:creationId xmlns:a16="http://schemas.microsoft.com/office/drawing/2014/main" id="{A7136424-7FF5-4F0D-B9EA-1ED5565D6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9" y="588"/>
                <a:ext cx="214" cy="213"/>
              </a:xfrm>
              <a:custGeom>
                <a:avLst/>
                <a:gdLst>
                  <a:gd name="T0" fmla="*/ 432 w 432"/>
                  <a:gd name="T1" fmla="*/ 190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8 h 432"/>
                  <a:gd name="T14" fmla="*/ 295 w 432"/>
                  <a:gd name="T15" fmla="*/ 73 h 432"/>
                  <a:gd name="T16" fmla="*/ 261 w 432"/>
                  <a:gd name="T17" fmla="*/ 59 h 432"/>
                  <a:gd name="T18" fmla="*/ 240 w 432"/>
                  <a:gd name="T19" fmla="*/ 0 h 432"/>
                  <a:gd name="T20" fmla="*/ 191 w 432"/>
                  <a:gd name="T21" fmla="*/ 0 h 432"/>
                  <a:gd name="T22" fmla="*/ 188 w 432"/>
                  <a:gd name="T23" fmla="*/ 7 h 432"/>
                  <a:gd name="T24" fmla="*/ 171 w 432"/>
                  <a:gd name="T25" fmla="*/ 59 h 432"/>
                  <a:gd name="T26" fmla="*/ 137 w 432"/>
                  <a:gd name="T27" fmla="*/ 73 h 432"/>
                  <a:gd name="T28" fmla="*/ 80 w 432"/>
                  <a:gd name="T29" fmla="*/ 46 h 432"/>
                  <a:gd name="T30" fmla="*/ 45 w 432"/>
                  <a:gd name="T31" fmla="*/ 81 h 432"/>
                  <a:gd name="T32" fmla="*/ 49 w 432"/>
                  <a:gd name="T33" fmla="*/ 88 h 432"/>
                  <a:gd name="T34" fmla="*/ 74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2 h 432"/>
                  <a:gd name="T40" fmla="*/ 0 w 432"/>
                  <a:gd name="T41" fmla="*/ 241 h 432"/>
                  <a:gd name="T42" fmla="*/ 7 w 432"/>
                  <a:gd name="T43" fmla="*/ 244 h 432"/>
                  <a:gd name="T44" fmla="*/ 60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6 h 432"/>
                  <a:gd name="T52" fmla="*/ 88 w 432"/>
                  <a:gd name="T53" fmla="*/ 383 h 432"/>
                  <a:gd name="T54" fmla="*/ 137 w 432"/>
                  <a:gd name="T55" fmla="*/ 358 h 432"/>
                  <a:gd name="T56" fmla="*/ 171 w 432"/>
                  <a:gd name="T57" fmla="*/ 372 h 432"/>
                  <a:gd name="T58" fmla="*/ 193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2 h 432"/>
                  <a:gd name="T66" fmla="*/ 295 w 432"/>
                  <a:gd name="T67" fmla="*/ 358 h 432"/>
                  <a:gd name="T68" fmla="*/ 352 w 432"/>
                  <a:gd name="T69" fmla="*/ 385 h 432"/>
                  <a:gd name="T70" fmla="*/ 387 w 432"/>
                  <a:gd name="T71" fmla="*/ 350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0 h 432"/>
                  <a:gd name="T78" fmla="*/ 432 w 432"/>
                  <a:gd name="T79" fmla="*/ 239 h 432"/>
                  <a:gd name="T80" fmla="*/ 432 w 432"/>
                  <a:gd name="T81" fmla="*/ 190 h 432"/>
                  <a:gd name="T82" fmla="*/ 290 w 432"/>
                  <a:gd name="T83" fmla="*/ 216 h 432"/>
                  <a:gd name="T84" fmla="*/ 216 w 432"/>
                  <a:gd name="T85" fmla="*/ 290 h 432"/>
                  <a:gd name="T86" fmla="*/ 141 w 432"/>
                  <a:gd name="T87" fmla="*/ 216 h 432"/>
                  <a:gd name="T88" fmla="*/ 216 w 432"/>
                  <a:gd name="T89" fmla="*/ 141 h 432"/>
                  <a:gd name="T90" fmla="*/ 290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0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8"/>
                      <a:pt x="344" y="48"/>
                      <a:pt x="344" y="48"/>
                    </a:cubicBezTo>
                    <a:cubicBezTo>
                      <a:pt x="295" y="73"/>
                      <a:pt x="295" y="73"/>
                      <a:pt x="295" y="73"/>
                    </a:cubicBezTo>
                    <a:cubicBezTo>
                      <a:pt x="261" y="59"/>
                      <a:pt x="261" y="59"/>
                      <a:pt x="261" y="59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59"/>
                      <a:pt x="171" y="59"/>
                      <a:pt x="171" y="59"/>
                    </a:cubicBezTo>
                    <a:cubicBezTo>
                      <a:pt x="137" y="73"/>
                      <a:pt x="137" y="73"/>
                      <a:pt x="137" y="73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4" y="137"/>
                      <a:pt x="74" y="137"/>
                      <a:pt x="74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60" y="261"/>
                      <a:pt x="60" y="261"/>
                      <a:pt x="60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6"/>
                      <a:pt x="81" y="386"/>
                      <a:pt x="81" y="386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137" y="358"/>
                      <a:pt x="137" y="358"/>
                      <a:pt x="137" y="358"/>
                    </a:cubicBezTo>
                    <a:cubicBezTo>
                      <a:pt x="171" y="372"/>
                      <a:pt x="171" y="372"/>
                      <a:pt x="171" y="372"/>
                    </a:cubicBezTo>
                    <a:cubicBezTo>
                      <a:pt x="193" y="432"/>
                      <a:pt x="193" y="432"/>
                      <a:pt x="193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2"/>
                      <a:pt x="261" y="372"/>
                      <a:pt x="261" y="372"/>
                    </a:cubicBezTo>
                    <a:cubicBezTo>
                      <a:pt x="295" y="358"/>
                      <a:pt x="295" y="358"/>
                      <a:pt x="295" y="358"/>
                    </a:cubicBezTo>
                    <a:cubicBezTo>
                      <a:pt x="352" y="385"/>
                      <a:pt x="352" y="385"/>
                      <a:pt x="352" y="385"/>
                    </a:cubicBezTo>
                    <a:cubicBezTo>
                      <a:pt x="387" y="350"/>
                      <a:pt x="387" y="350"/>
                      <a:pt x="387" y="350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432" y="239"/>
                      <a:pt x="432" y="239"/>
                      <a:pt x="432" y="239"/>
                    </a:cubicBezTo>
                    <a:cubicBezTo>
                      <a:pt x="432" y="190"/>
                      <a:pt x="432" y="190"/>
                      <a:pt x="432" y="190"/>
                    </a:cubicBezTo>
                    <a:close/>
                    <a:moveTo>
                      <a:pt x="290" y="216"/>
                    </a:moveTo>
                    <a:cubicBezTo>
                      <a:pt x="290" y="257"/>
                      <a:pt x="257" y="290"/>
                      <a:pt x="216" y="290"/>
                    </a:cubicBezTo>
                    <a:cubicBezTo>
                      <a:pt x="175" y="290"/>
                      <a:pt x="141" y="257"/>
                      <a:pt x="141" y="216"/>
                    </a:cubicBezTo>
                    <a:cubicBezTo>
                      <a:pt x="141" y="174"/>
                      <a:pt x="175" y="141"/>
                      <a:pt x="216" y="141"/>
                    </a:cubicBezTo>
                    <a:cubicBezTo>
                      <a:pt x="257" y="141"/>
                      <a:pt x="290" y="174"/>
                      <a:pt x="290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5" name="Freeform 7">
                <a:extLst>
                  <a:ext uri="{FF2B5EF4-FFF2-40B4-BE49-F238E27FC236}">
                    <a16:creationId xmlns:a16="http://schemas.microsoft.com/office/drawing/2014/main" id="{E5B48CFB-92DA-4E5A-86C3-8229B61415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6" y="652"/>
                <a:ext cx="262" cy="262"/>
              </a:xfrm>
              <a:custGeom>
                <a:avLst/>
                <a:gdLst>
                  <a:gd name="T0" fmla="*/ 529 w 529"/>
                  <a:gd name="T1" fmla="*/ 234 h 530"/>
                  <a:gd name="T2" fmla="*/ 520 w 529"/>
                  <a:gd name="T3" fmla="*/ 231 h 530"/>
                  <a:gd name="T4" fmla="*/ 456 w 529"/>
                  <a:gd name="T5" fmla="*/ 210 h 530"/>
                  <a:gd name="T6" fmla="*/ 439 w 529"/>
                  <a:gd name="T7" fmla="*/ 169 h 530"/>
                  <a:gd name="T8" fmla="*/ 472 w 529"/>
                  <a:gd name="T9" fmla="*/ 99 h 530"/>
                  <a:gd name="T10" fmla="*/ 429 w 529"/>
                  <a:gd name="T11" fmla="*/ 56 h 530"/>
                  <a:gd name="T12" fmla="*/ 421 w 529"/>
                  <a:gd name="T13" fmla="*/ 60 h 530"/>
                  <a:gd name="T14" fmla="*/ 361 w 529"/>
                  <a:gd name="T15" fmla="*/ 91 h 530"/>
                  <a:gd name="T16" fmla="*/ 319 w 529"/>
                  <a:gd name="T17" fmla="*/ 74 h 530"/>
                  <a:gd name="T18" fmla="*/ 293 w 529"/>
                  <a:gd name="T19" fmla="*/ 0 h 530"/>
                  <a:gd name="T20" fmla="*/ 233 w 529"/>
                  <a:gd name="T21" fmla="*/ 0 h 530"/>
                  <a:gd name="T22" fmla="*/ 230 w 529"/>
                  <a:gd name="T23" fmla="*/ 9 h 530"/>
                  <a:gd name="T24" fmla="*/ 209 w 529"/>
                  <a:gd name="T25" fmla="*/ 74 h 530"/>
                  <a:gd name="T26" fmla="*/ 168 w 529"/>
                  <a:gd name="T27" fmla="*/ 91 h 530"/>
                  <a:gd name="T28" fmla="*/ 98 w 529"/>
                  <a:gd name="T29" fmla="*/ 58 h 530"/>
                  <a:gd name="T30" fmla="*/ 55 w 529"/>
                  <a:gd name="T31" fmla="*/ 100 h 530"/>
                  <a:gd name="T32" fmla="*/ 59 w 529"/>
                  <a:gd name="T33" fmla="*/ 108 h 530"/>
                  <a:gd name="T34" fmla="*/ 90 w 529"/>
                  <a:gd name="T35" fmla="*/ 169 h 530"/>
                  <a:gd name="T36" fmla="*/ 72 w 529"/>
                  <a:gd name="T37" fmla="*/ 210 h 530"/>
                  <a:gd name="T38" fmla="*/ 0 w 529"/>
                  <a:gd name="T39" fmla="*/ 236 h 530"/>
                  <a:gd name="T40" fmla="*/ 0 w 529"/>
                  <a:gd name="T41" fmla="*/ 297 h 530"/>
                  <a:gd name="T42" fmla="*/ 8 w 529"/>
                  <a:gd name="T43" fmla="*/ 300 h 530"/>
                  <a:gd name="T44" fmla="*/ 73 w 529"/>
                  <a:gd name="T45" fmla="*/ 321 h 530"/>
                  <a:gd name="T46" fmla="*/ 90 w 529"/>
                  <a:gd name="T47" fmla="*/ 362 h 530"/>
                  <a:gd name="T48" fmla="*/ 57 w 529"/>
                  <a:gd name="T49" fmla="*/ 432 h 530"/>
                  <a:gd name="T50" fmla="*/ 99 w 529"/>
                  <a:gd name="T51" fmla="*/ 474 h 530"/>
                  <a:gd name="T52" fmla="*/ 107 w 529"/>
                  <a:gd name="T53" fmla="*/ 471 h 530"/>
                  <a:gd name="T54" fmla="*/ 168 w 529"/>
                  <a:gd name="T55" fmla="*/ 440 h 530"/>
                  <a:gd name="T56" fmla="*/ 209 w 529"/>
                  <a:gd name="T57" fmla="*/ 457 h 530"/>
                  <a:gd name="T58" fmla="*/ 236 w 529"/>
                  <a:gd name="T59" fmla="*/ 530 h 530"/>
                  <a:gd name="T60" fmla="*/ 296 w 529"/>
                  <a:gd name="T61" fmla="*/ 530 h 530"/>
                  <a:gd name="T62" fmla="*/ 298 w 529"/>
                  <a:gd name="T63" fmla="*/ 522 h 530"/>
                  <a:gd name="T64" fmla="*/ 319 w 529"/>
                  <a:gd name="T65" fmla="*/ 457 h 530"/>
                  <a:gd name="T66" fmla="*/ 361 w 529"/>
                  <a:gd name="T67" fmla="*/ 440 h 530"/>
                  <a:gd name="T68" fmla="*/ 431 w 529"/>
                  <a:gd name="T69" fmla="*/ 472 h 530"/>
                  <a:gd name="T70" fmla="*/ 474 w 529"/>
                  <a:gd name="T71" fmla="*/ 430 h 530"/>
                  <a:gd name="T72" fmla="*/ 469 w 529"/>
                  <a:gd name="T73" fmla="*/ 422 h 530"/>
                  <a:gd name="T74" fmla="*/ 439 w 529"/>
                  <a:gd name="T75" fmla="*/ 362 h 530"/>
                  <a:gd name="T76" fmla="*/ 456 w 529"/>
                  <a:gd name="T77" fmla="*/ 320 h 530"/>
                  <a:gd name="T78" fmla="*/ 529 w 529"/>
                  <a:gd name="T79" fmla="*/ 294 h 530"/>
                  <a:gd name="T80" fmla="*/ 529 w 529"/>
                  <a:gd name="T81" fmla="*/ 234 h 530"/>
                  <a:gd name="T82" fmla="*/ 529 w 529"/>
                  <a:gd name="T83" fmla="*/ 234 h 530"/>
                  <a:gd name="T84" fmla="*/ 349 w 529"/>
                  <a:gd name="T85" fmla="*/ 265 h 530"/>
                  <a:gd name="T86" fmla="*/ 264 w 529"/>
                  <a:gd name="T87" fmla="*/ 350 h 530"/>
                  <a:gd name="T88" fmla="*/ 180 w 529"/>
                  <a:gd name="T89" fmla="*/ 265 h 530"/>
                  <a:gd name="T90" fmla="*/ 264 w 529"/>
                  <a:gd name="T91" fmla="*/ 181 h 530"/>
                  <a:gd name="T92" fmla="*/ 349 w 529"/>
                  <a:gd name="T93" fmla="*/ 265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29" h="530">
                    <a:moveTo>
                      <a:pt x="529" y="234"/>
                    </a:moveTo>
                    <a:cubicBezTo>
                      <a:pt x="520" y="231"/>
                      <a:pt x="520" y="231"/>
                      <a:pt x="520" y="231"/>
                    </a:cubicBezTo>
                    <a:cubicBezTo>
                      <a:pt x="456" y="210"/>
                      <a:pt x="456" y="210"/>
                      <a:pt x="456" y="210"/>
                    </a:cubicBezTo>
                    <a:cubicBezTo>
                      <a:pt x="439" y="169"/>
                      <a:pt x="439" y="169"/>
                      <a:pt x="439" y="169"/>
                    </a:cubicBezTo>
                    <a:cubicBezTo>
                      <a:pt x="472" y="99"/>
                      <a:pt x="472" y="99"/>
                      <a:pt x="472" y="99"/>
                    </a:cubicBezTo>
                    <a:cubicBezTo>
                      <a:pt x="429" y="56"/>
                      <a:pt x="429" y="56"/>
                      <a:pt x="429" y="56"/>
                    </a:cubicBezTo>
                    <a:cubicBezTo>
                      <a:pt x="421" y="60"/>
                      <a:pt x="421" y="60"/>
                      <a:pt x="421" y="60"/>
                    </a:cubicBezTo>
                    <a:cubicBezTo>
                      <a:pt x="361" y="91"/>
                      <a:pt x="361" y="91"/>
                      <a:pt x="361" y="91"/>
                    </a:cubicBezTo>
                    <a:cubicBezTo>
                      <a:pt x="319" y="74"/>
                      <a:pt x="319" y="74"/>
                      <a:pt x="319" y="74"/>
                    </a:cubicBezTo>
                    <a:cubicBezTo>
                      <a:pt x="293" y="0"/>
                      <a:pt x="293" y="0"/>
                      <a:pt x="293" y="0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30" y="9"/>
                      <a:pt x="230" y="9"/>
                      <a:pt x="230" y="9"/>
                    </a:cubicBezTo>
                    <a:cubicBezTo>
                      <a:pt x="209" y="74"/>
                      <a:pt x="209" y="74"/>
                      <a:pt x="209" y="74"/>
                    </a:cubicBezTo>
                    <a:cubicBezTo>
                      <a:pt x="168" y="91"/>
                      <a:pt x="168" y="91"/>
                      <a:pt x="168" y="91"/>
                    </a:cubicBezTo>
                    <a:cubicBezTo>
                      <a:pt x="98" y="58"/>
                      <a:pt x="98" y="58"/>
                      <a:pt x="98" y="58"/>
                    </a:cubicBezTo>
                    <a:cubicBezTo>
                      <a:pt x="55" y="100"/>
                      <a:pt x="55" y="100"/>
                      <a:pt x="55" y="100"/>
                    </a:cubicBezTo>
                    <a:cubicBezTo>
                      <a:pt x="59" y="108"/>
                      <a:pt x="59" y="108"/>
                      <a:pt x="59" y="108"/>
                    </a:cubicBezTo>
                    <a:cubicBezTo>
                      <a:pt x="90" y="169"/>
                      <a:pt x="90" y="169"/>
                      <a:pt x="90" y="169"/>
                    </a:cubicBezTo>
                    <a:cubicBezTo>
                      <a:pt x="72" y="210"/>
                      <a:pt x="72" y="210"/>
                      <a:pt x="72" y="210"/>
                    </a:cubicBezTo>
                    <a:cubicBezTo>
                      <a:pt x="0" y="236"/>
                      <a:pt x="0" y="236"/>
                      <a:pt x="0" y="236"/>
                    </a:cubicBezTo>
                    <a:cubicBezTo>
                      <a:pt x="0" y="297"/>
                      <a:pt x="0" y="297"/>
                      <a:pt x="0" y="297"/>
                    </a:cubicBezTo>
                    <a:cubicBezTo>
                      <a:pt x="8" y="300"/>
                      <a:pt x="8" y="300"/>
                      <a:pt x="8" y="300"/>
                    </a:cubicBezTo>
                    <a:cubicBezTo>
                      <a:pt x="73" y="321"/>
                      <a:pt x="73" y="321"/>
                      <a:pt x="73" y="321"/>
                    </a:cubicBezTo>
                    <a:cubicBezTo>
                      <a:pt x="90" y="362"/>
                      <a:pt x="90" y="362"/>
                      <a:pt x="90" y="362"/>
                    </a:cubicBezTo>
                    <a:cubicBezTo>
                      <a:pt x="57" y="432"/>
                      <a:pt x="57" y="432"/>
                      <a:pt x="57" y="432"/>
                    </a:cubicBezTo>
                    <a:cubicBezTo>
                      <a:pt x="99" y="474"/>
                      <a:pt x="99" y="474"/>
                      <a:pt x="99" y="474"/>
                    </a:cubicBezTo>
                    <a:cubicBezTo>
                      <a:pt x="107" y="471"/>
                      <a:pt x="107" y="471"/>
                      <a:pt x="107" y="471"/>
                    </a:cubicBezTo>
                    <a:cubicBezTo>
                      <a:pt x="168" y="440"/>
                      <a:pt x="168" y="440"/>
                      <a:pt x="168" y="440"/>
                    </a:cubicBezTo>
                    <a:cubicBezTo>
                      <a:pt x="209" y="457"/>
                      <a:pt x="209" y="457"/>
                      <a:pt x="209" y="457"/>
                    </a:cubicBezTo>
                    <a:cubicBezTo>
                      <a:pt x="236" y="530"/>
                      <a:pt x="236" y="530"/>
                      <a:pt x="236" y="530"/>
                    </a:cubicBezTo>
                    <a:cubicBezTo>
                      <a:pt x="296" y="530"/>
                      <a:pt x="296" y="530"/>
                      <a:pt x="296" y="530"/>
                    </a:cubicBezTo>
                    <a:cubicBezTo>
                      <a:pt x="298" y="522"/>
                      <a:pt x="298" y="522"/>
                      <a:pt x="298" y="522"/>
                    </a:cubicBezTo>
                    <a:cubicBezTo>
                      <a:pt x="319" y="457"/>
                      <a:pt x="319" y="457"/>
                      <a:pt x="319" y="457"/>
                    </a:cubicBezTo>
                    <a:cubicBezTo>
                      <a:pt x="361" y="440"/>
                      <a:pt x="361" y="440"/>
                      <a:pt x="361" y="440"/>
                    </a:cubicBezTo>
                    <a:cubicBezTo>
                      <a:pt x="431" y="472"/>
                      <a:pt x="431" y="472"/>
                      <a:pt x="431" y="472"/>
                    </a:cubicBezTo>
                    <a:cubicBezTo>
                      <a:pt x="474" y="430"/>
                      <a:pt x="474" y="430"/>
                      <a:pt x="474" y="430"/>
                    </a:cubicBezTo>
                    <a:cubicBezTo>
                      <a:pt x="469" y="422"/>
                      <a:pt x="469" y="422"/>
                      <a:pt x="469" y="422"/>
                    </a:cubicBezTo>
                    <a:cubicBezTo>
                      <a:pt x="439" y="362"/>
                      <a:pt x="439" y="362"/>
                      <a:pt x="439" y="362"/>
                    </a:cubicBezTo>
                    <a:cubicBezTo>
                      <a:pt x="456" y="320"/>
                      <a:pt x="456" y="320"/>
                      <a:pt x="456" y="320"/>
                    </a:cubicBezTo>
                    <a:cubicBezTo>
                      <a:pt x="529" y="294"/>
                      <a:pt x="529" y="294"/>
                      <a:pt x="529" y="294"/>
                    </a:cubicBezTo>
                    <a:cubicBezTo>
                      <a:pt x="529" y="234"/>
                      <a:pt x="529" y="234"/>
                      <a:pt x="529" y="234"/>
                    </a:cubicBezTo>
                    <a:cubicBezTo>
                      <a:pt x="529" y="234"/>
                      <a:pt x="529" y="234"/>
                      <a:pt x="529" y="234"/>
                    </a:cubicBezTo>
                    <a:close/>
                    <a:moveTo>
                      <a:pt x="349" y="265"/>
                    </a:moveTo>
                    <a:cubicBezTo>
                      <a:pt x="349" y="312"/>
                      <a:pt x="311" y="350"/>
                      <a:pt x="264" y="350"/>
                    </a:cubicBezTo>
                    <a:cubicBezTo>
                      <a:pt x="218" y="350"/>
                      <a:pt x="180" y="312"/>
                      <a:pt x="180" y="265"/>
                    </a:cubicBezTo>
                    <a:cubicBezTo>
                      <a:pt x="180" y="219"/>
                      <a:pt x="218" y="181"/>
                      <a:pt x="264" y="181"/>
                    </a:cubicBezTo>
                    <a:cubicBezTo>
                      <a:pt x="311" y="181"/>
                      <a:pt x="349" y="219"/>
                      <a:pt x="349" y="2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E59A6D72-7A8F-42CC-8F92-0E0ECC5D9518}"/>
              </a:ext>
            </a:extLst>
          </p:cNvPr>
          <p:cNvSpPr txBox="1"/>
          <p:nvPr/>
        </p:nvSpPr>
        <p:spPr>
          <a:xfrm>
            <a:off x="634701" y="3644893"/>
            <a:ext cx="1201197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895493">
              <a:defRPr/>
            </a:pPr>
            <a:r>
              <a:rPr lang="en-US" sz="1372" dirty="0">
                <a:latin typeface="Segoe UI"/>
              </a:rPr>
              <a:t>Deployment </a:t>
            </a:r>
          </a:p>
          <a:p>
            <a:pPr defTabSz="895493">
              <a:defRPr/>
            </a:pPr>
            <a:r>
              <a:rPr lang="en-US" sz="1372" dirty="0">
                <a:latin typeface="Segoe UI"/>
              </a:rPr>
              <a:t>with eas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F843400-CEA7-48C6-8DAC-89D32938AEF3}"/>
              </a:ext>
            </a:extLst>
          </p:cNvPr>
          <p:cNvSpPr txBox="1"/>
          <p:nvPr/>
        </p:nvSpPr>
        <p:spPr>
          <a:xfrm>
            <a:off x="10311347" y="3644893"/>
            <a:ext cx="1408831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/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Private registry </a:t>
            </a:r>
          </a:p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suppor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6D8CD5-44BA-4111-BA48-8047D448FDC6}"/>
              </a:ext>
            </a:extLst>
          </p:cNvPr>
          <p:cNvGrpSpPr/>
          <p:nvPr/>
        </p:nvGrpSpPr>
        <p:grpSpPr>
          <a:xfrm>
            <a:off x="2076632" y="4781078"/>
            <a:ext cx="1783225" cy="1177320"/>
            <a:chOff x="2076044" y="4781260"/>
            <a:chExt cx="1783478" cy="1177487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F105FE2-5B00-460A-97BE-4BB43778CA35}"/>
                </a:ext>
              </a:extLst>
            </p:cNvPr>
            <p:cNvSpPr txBox="1"/>
            <p:nvPr/>
          </p:nvSpPr>
          <p:spPr>
            <a:xfrm>
              <a:off x="2076044" y="5480504"/>
              <a:ext cx="1783478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ed deployment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slots</a:t>
              </a: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1167B323-6AFF-4874-A660-796FBA349C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26020" y="4781260"/>
              <a:ext cx="483527" cy="582712"/>
              <a:chOff x="5480050" y="2681288"/>
              <a:chExt cx="1238250" cy="1492251"/>
            </a:xfrm>
            <a:solidFill>
              <a:schemeClr val="bg1"/>
            </a:solidFill>
          </p:grpSpPr>
          <p:sp>
            <p:nvSpPr>
              <p:cNvPr id="164" name="Freeform 35">
                <a:extLst>
                  <a:ext uri="{FF2B5EF4-FFF2-40B4-BE49-F238E27FC236}">
                    <a16:creationId xmlns:a16="http://schemas.microsoft.com/office/drawing/2014/main" id="{F678147F-4792-40C3-844F-5148997130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82F7E28D-715F-461D-93FF-9D14BBD15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F5A568D0-D441-487B-8F5B-02D305CE89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B3523BB-E3BE-42B2-97B3-8C9B9E631E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1417524B-EAB2-463D-B969-58407FAA0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EF837FD5-166E-492A-AF55-46F4E7790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4E7CE29B-19D9-4713-A7B0-EE396B3BCA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0C729984-5455-47AF-8A21-159AE1AF75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0337AC5-0AED-4136-A40B-B4C8E13D0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157B9861-F02E-459B-A6C5-D71E1B41A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9439AEA-FE15-4535-8C50-5C44C81FDE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FB860600-6B8C-4AFC-A05F-9DDEC939A3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30DFA166-296A-4F63-A5FC-E2DD61B24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695680B5-E02F-40E8-B4B0-6F79C0657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8" name="Rectangle 31">
                <a:extLst>
                  <a:ext uri="{FF2B5EF4-FFF2-40B4-BE49-F238E27FC236}">
                    <a16:creationId xmlns:a16="http://schemas.microsoft.com/office/drawing/2014/main" id="{78FF81B3-31BA-4795-A3E3-9911F1F362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9" name="Rectangle 32">
                <a:extLst>
                  <a:ext uri="{FF2B5EF4-FFF2-40B4-BE49-F238E27FC236}">
                    <a16:creationId xmlns:a16="http://schemas.microsoft.com/office/drawing/2014/main" id="{133CA987-4D5E-47BC-82B0-2D9494F09D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0" name="Rectangle 33">
                <a:extLst>
                  <a:ext uri="{FF2B5EF4-FFF2-40B4-BE49-F238E27FC236}">
                    <a16:creationId xmlns:a16="http://schemas.microsoft.com/office/drawing/2014/main" id="{B038EF9D-F413-4B18-B33C-EE7F2E52E6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1" name="Rectangle 34">
                <a:extLst>
                  <a:ext uri="{FF2B5EF4-FFF2-40B4-BE49-F238E27FC236}">
                    <a16:creationId xmlns:a16="http://schemas.microsoft.com/office/drawing/2014/main" id="{F046B257-C986-4F59-8743-9F07973C8A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2" name="Freeform 35">
                <a:extLst>
                  <a:ext uri="{FF2B5EF4-FFF2-40B4-BE49-F238E27FC236}">
                    <a16:creationId xmlns:a16="http://schemas.microsoft.com/office/drawing/2014/main" id="{A167B207-8F1B-432A-9357-EBF5ED780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3" name="Freeform 36">
                <a:extLst>
                  <a:ext uri="{FF2B5EF4-FFF2-40B4-BE49-F238E27FC236}">
                    <a16:creationId xmlns:a16="http://schemas.microsoft.com/office/drawing/2014/main" id="{42DAA8C1-63F3-4D6F-8708-4B8BB9B76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26AB6B7-3744-4029-82FF-688EFC9A3CF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742" y="3039982"/>
            <a:ext cx="547938" cy="547938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3AEFCBB2-31B5-4070-ADD5-A5B2CB5CD120}"/>
              </a:ext>
            </a:extLst>
          </p:cNvPr>
          <p:cNvGrpSpPr>
            <a:grpSpLocks noChangeAspect="1"/>
          </p:cNvGrpSpPr>
          <p:nvPr/>
        </p:nvGrpSpPr>
        <p:grpSpPr>
          <a:xfrm>
            <a:off x="10839807" y="2870986"/>
            <a:ext cx="421422" cy="594276"/>
            <a:chOff x="6624638" y="3833813"/>
            <a:chExt cx="468312" cy="660400"/>
          </a:xfrm>
          <a:solidFill>
            <a:schemeClr val="bg1"/>
          </a:solidFill>
        </p:grpSpPr>
        <p:sp>
          <p:nvSpPr>
            <p:cNvPr id="89" name="Freeform 100">
              <a:extLst>
                <a:ext uri="{FF2B5EF4-FFF2-40B4-BE49-F238E27FC236}">
                  <a16:creationId xmlns:a16="http://schemas.microsoft.com/office/drawing/2014/main" id="{BA622F0B-A214-436C-8268-C73473F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3833813"/>
              <a:ext cx="358775" cy="254000"/>
            </a:xfrm>
            <a:custGeom>
              <a:avLst/>
              <a:gdLst>
                <a:gd name="T0" fmla="*/ 0 w 196"/>
                <a:gd name="T1" fmla="*/ 138 h 139"/>
                <a:gd name="T2" fmla="*/ 29 w 196"/>
                <a:gd name="T3" fmla="*/ 138 h 139"/>
                <a:gd name="T4" fmla="*/ 29 w 196"/>
                <a:gd name="T5" fmla="*/ 97 h 139"/>
                <a:gd name="T6" fmla="*/ 98 w 196"/>
                <a:gd name="T7" fmla="*/ 28 h 139"/>
                <a:gd name="T8" fmla="*/ 168 w 196"/>
                <a:gd name="T9" fmla="*/ 97 h 139"/>
                <a:gd name="T10" fmla="*/ 168 w 196"/>
                <a:gd name="T11" fmla="*/ 139 h 139"/>
                <a:gd name="T12" fmla="*/ 196 w 196"/>
                <a:gd name="T13" fmla="*/ 139 h 139"/>
                <a:gd name="T14" fmla="*/ 196 w 196"/>
                <a:gd name="T15" fmla="*/ 97 h 139"/>
                <a:gd name="T16" fmla="*/ 98 w 196"/>
                <a:gd name="T17" fmla="*/ 0 h 139"/>
                <a:gd name="T18" fmla="*/ 0 w 196"/>
                <a:gd name="T19" fmla="*/ 97 h 139"/>
                <a:gd name="T20" fmla="*/ 0 w 196"/>
                <a:gd name="T21" fmla="*/ 1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" h="139">
                  <a:moveTo>
                    <a:pt x="0" y="138"/>
                  </a:moveTo>
                  <a:cubicBezTo>
                    <a:pt x="29" y="138"/>
                    <a:pt x="29" y="138"/>
                    <a:pt x="29" y="138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59"/>
                    <a:pt x="60" y="28"/>
                    <a:pt x="98" y="28"/>
                  </a:cubicBezTo>
                  <a:cubicBezTo>
                    <a:pt x="136" y="28"/>
                    <a:pt x="168" y="59"/>
                    <a:pt x="168" y="97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96" y="139"/>
                    <a:pt x="196" y="139"/>
                    <a:pt x="196" y="139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196" y="44"/>
                    <a:pt x="152" y="0"/>
                    <a:pt x="98" y="0"/>
                  </a:cubicBezTo>
                  <a:cubicBezTo>
                    <a:pt x="44" y="0"/>
                    <a:pt x="0" y="44"/>
                    <a:pt x="0" y="97"/>
                  </a:cubicBezTo>
                  <a:lnTo>
                    <a:pt x="0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90" name="Freeform 101">
              <a:extLst>
                <a:ext uri="{FF2B5EF4-FFF2-40B4-BE49-F238E27FC236}">
                  <a16:creationId xmlns:a16="http://schemas.microsoft.com/office/drawing/2014/main" id="{B161435F-0700-4D28-AAB1-46776B5B9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4638" y="4119563"/>
              <a:ext cx="468312" cy="374650"/>
            </a:xfrm>
            <a:custGeom>
              <a:avLst/>
              <a:gdLst>
                <a:gd name="T0" fmla="*/ 235 w 255"/>
                <a:gd name="T1" fmla="*/ 0 h 204"/>
                <a:gd name="T2" fmla="*/ 20 w 255"/>
                <a:gd name="T3" fmla="*/ 0 h 204"/>
                <a:gd name="T4" fmla="*/ 0 w 255"/>
                <a:gd name="T5" fmla="*/ 20 h 204"/>
                <a:gd name="T6" fmla="*/ 0 w 255"/>
                <a:gd name="T7" fmla="*/ 184 h 204"/>
                <a:gd name="T8" fmla="*/ 20 w 255"/>
                <a:gd name="T9" fmla="*/ 204 h 204"/>
                <a:gd name="T10" fmla="*/ 235 w 255"/>
                <a:gd name="T11" fmla="*/ 204 h 204"/>
                <a:gd name="T12" fmla="*/ 255 w 255"/>
                <a:gd name="T13" fmla="*/ 184 h 204"/>
                <a:gd name="T14" fmla="*/ 255 w 255"/>
                <a:gd name="T15" fmla="*/ 20 h 204"/>
                <a:gd name="T16" fmla="*/ 235 w 255"/>
                <a:gd name="T17" fmla="*/ 0 h 204"/>
                <a:gd name="T18" fmla="*/ 242 w 255"/>
                <a:gd name="T19" fmla="*/ 184 h 204"/>
                <a:gd name="T20" fmla="*/ 234 w 255"/>
                <a:gd name="T21" fmla="*/ 192 h 204"/>
                <a:gd name="T22" fmla="*/ 226 w 255"/>
                <a:gd name="T23" fmla="*/ 192 h 204"/>
                <a:gd name="T24" fmla="*/ 212 w 255"/>
                <a:gd name="T25" fmla="*/ 184 h 204"/>
                <a:gd name="T26" fmla="*/ 201 w 255"/>
                <a:gd name="T27" fmla="*/ 181 h 204"/>
                <a:gd name="T28" fmla="*/ 53 w 255"/>
                <a:gd name="T29" fmla="*/ 181 h 204"/>
                <a:gd name="T30" fmla="*/ 42 w 255"/>
                <a:gd name="T31" fmla="*/ 184 h 204"/>
                <a:gd name="T32" fmla="*/ 28 w 255"/>
                <a:gd name="T33" fmla="*/ 192 h 204"/>
                <a:gd name="T34" fmla="*/ 20 w 255"/>
                <a:gd name="T35" fmla="*/ 192 h 204"/>
                <a:gd name="T36" fmla="*/ 12 w 255"/>
                <a:gd name="T37" fmla="*/ 184 h 204"/>
                <a:gd name="T38" fmla="*/ 12 w 255"/>
                <a:gd name="T39" fmla="*/ 183 h 204"/>
                <a:gd name="T40" fmla="*/ 35 w 255"/>
                <a:gd name="T41" fmla="*/ 170 h 204"/>
                <a:gd name="T42" fmla="*/ 53 w 255"/>
                <a:gd name="T43" fmla="*/ 166 h 204"/>
                <a:gd name="T44" fmla="*/ 201 w 255"/>
                <a:gd name="T45" fmla="*/ 166 h 204"/>
                <a:gd name="T46" fmla="*/ 220 w 255"/>
                <a:gd name="T47" fmla="*/ 170 h 204"/>
                <a:gd name="T48" fmla="*/ 242 w 255"/>
                <a:gd name="T49" fmla="*/ 183 h 204"/>
                <a:gd name="T50" fmla="*/ 242 w 255"/>
                <a:gd name="T51" fmla="*/ 184 h 204"/>
                <a:gd name="T52" fmla="*/ 107 w 255"/>
                <a:gd name="T53" fmla="*/ 89 h 204"/>
                <a:gd name="T54" fmla="*/ 127 w 255"/>
                <a:gd name="T55" fmla="*/ 69 h 204"/>
                <a:gd name="T56" fmla="*/ 147 w 255"/>
                <a:gd name="T57" fmla="*/ 89 h 204"/>
                <a:gd name="T58" fmla="*/ 136 w 255"/>
                <a:gd name="T59" fmla="*/ 107 h 204"/>
                <a:gd name="T60" fmla="*/ 136 w 255"/>
                <a:gd name="T61" fmla="*/ 135 h 204"/>
                <a:gd name="T62" fmla="*/ 118 w 255"/>
                <a:gd name="T63" fmla="*/ 135 h 204"/>
                <a:gd name="T64" fmla="*/ 118 w 255"/>
                <a:gd name="T65" fmla="*/ 107 h 204"/>
                <a:gd name="T66" fmla="*/ 107 w 255"/>
                <a:gd name="T67" fmla="*/ 89 h 204"/>
                <a:gd name="T68" fmla="*/ 242 w 255"/>
                <a:gd name="T69" fmla="*/ 21 h 204"/>
                <a:gd name="T70" fmla="*/ 220 w 255"/>
                <a:gd name="T71" fmla="*/ 34 h 204"/>
                <a:gd name="T72" fmla="*/ 201 w 255"/>
                <a:gd name="T73" fmla="*/ 39 h 204"/>
                <a:gd name="T74" fmla="*/ 201 w 255"/>
                <a:gd name="T75" fmla="*/ 39 h 204"/>
                <a:gd name="T76" fmla="*/ 53 w 255"/>
                <a:gd name="T77" fmla="*/ 39 h 204"/>
                <a:gd name="T78" fmla="*/ 35 w 255"/>
                <a:gd name="T79" fmla="*/ 34 h 204"/>
                <a:gd name="T80" fmla="*/ 12 w 255"/>
                <a:gd name="T81" fmla="*/ 21 h 204"/>
                <a:gd name="T82" fmla="*/ 12 w 255"/>
                <a:gd name="T83" fmla="*/ 21 h 204"/>
                <a:gd name="T84" fmla="*/ 20 w 255"/>
                <a:gd name="T85" fmla="*/ 13 h 204"/>
                <a:gd name="T86" fmla="*/ 28 w 255"/>
                <a:gd name="T87" fmla="*/ 13 h 204"/>
                <a:gd name="T88" fmla="*/ 42 w 255"/>
                <a:gd name="T89" fmla="*/ 20 h 204"/>
                <a:gd name="T90" fmla="*/ 53 w 255"/>
                <a:gd name="T91" fmla="*/ 23 h 204"/>
                <a:gd name="T92" fmla="*/ 201 w 255"/>
                <a:gd name="T93" fmla="*/ 23 h 204"/>
                <a:gd name="T94" fmla="*/ 212 w 255"/>
                <a:gd name="T95" fmla="*/ 20 h 204"/>
                <a:gd name="T96" fmla="*/ 226 w 255"/>
                <a:gd name="T97" fmla="*/ 13 h 204"/>
                <a:gd name="T98" fmla="*/ 234 w 255"/>
                <a:gd name="T99" fmla="*/ 13 h 204"/>
                <a:gd name="T100" fmla="*/ 242 w 255"/>
                <a:gd name="T101" fmla="*/ 2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5" h="204">
                  <a:moveTo>
                    <a:pt x="235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95"/>
                    <a:pt x="9" y="204"/>
                    <a:pt x="20" y="204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46" y="204"/>
                    <a:pt x="255" y="195"/>
                    <a:pt x="255" y="184"/>
                  </a:cubicBezTo>
                  <a:cubicBezTo>
                    <a:pt x="255" y="20"/>
                    <a:pt x="255" y="20"/>
                    <a:pt x="255" y="20"/>
                  </a:cubicBezTo>
                  <a:cubicBezTo>
                    <a:pt x="255" y="9"/>
                    <a:pt x="246" y="0"/>
                    <a:pt x="235" y="0"/>
                  </a:cubicBezTo>
                  <a:close/>
                  <a:moveTo>
                    <a:pt x="242" y="184"/>
                  </a:moveTo>
                  <a:cubicBezTo>
                    <a:pt x="242" y="188"/>
                    <a:pt x="239" y="192"/>
                    <a:pt x="234" y="192"/>
                  </a:cubicBezTo>
                  <a:cubicBezTo>
                    <a:pt x="226" y="192"/>
                    <a:pt x="226" y="192"/>
                    <a:pt x="226" y="192"/>
                  </a:cubicBezTo>
                  <a:cubicBezTo>
                    <a:pt x="212" y="184"/>
                    <a:pt x="212" y="184"/>
                    <a:pt x="212" y="184"/>
                  </a:cubicBezTo>
                  <a:cubicBezTo>
                    <a:pt x="210" y="182"/>
                    <a:pt x="204" y="181"/>
                    <a:pt x="201" y="181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0" y="181"/>
                    <a:pt x="44" y="182"/>
                    <a:pt x="42" y="184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15" y="192"/>
                    <a:pt x="12" y="188"/>
                    <a:pt x="12" y="184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35" y="170"/>
                    <a:pt x="35" y="170"/>
                    <a:pt x="35" y="170"/>
                  </a:cubicBezTo>
                  <a:cubicBezTo>
                    <a:pt x="40" y="168"/>
                    <a:pt x="47" y="166"/>
                    <a:pt x="53" y="166"/>
                  </a:cubicBezTo>
                  <a:cubicBezTo>
                    <a:pt x="201" y="166"/>
                    <a:pt x="201" y="166"/>
                    <a:pt x="201" y="166"/>
                  </a:cubicBezTo>
                  <a:cubicBezTo>
                    <a:pt x="207" y="166"/>
                    <a:pt x="214" y="167"/>
                    <a:pt x="220" y="170"/>
                  </a:cubicBezTo>
                  <a:cubicBezTo>
                    <a:pt x="242" y="183"/>
                    <a:pt x="242" y="183"/>
                    <a:pt x="242" y="183"/>
                  </a:cubicBezTo>
                  <a:lnTo>
                    <a:pt x="242" y="184"/>
                  </a:lnTo>
                  <a:close/>
                  <a:moveTo>
                    <a:pt x="107" y="89"/>
                  </a:moveTo>
                  <a:cubicBezTo>
                    <a:pt x="107" y="78"/>
                    <a:pt x="116" y="69"/>
                    <a:pt x="127" y="69"/>
                  </a:cubicBezTo>
                  <a:cubicBezTo>
                    <a:pt x="138" y="69"/>
                    <a:pt x="147" y="78"/>
                    <a:pt x="147" y="89"/>
                  </a:cubicBezTo>
                  <a:cubicBezTo>
                    <a:pt x="147" y="97"/>
                    <a:pt x="143" y="104"/>
                    <a:pt x="136" y="107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1" y="104"/>
                    <a:pt x="107" y="97"/>
                    <a:pt x="107" y="89"/>
                  </a:cubicBezTo>
                  <a:close/>
                  <a:moveTo>
                    <a:pt x="242" y="21"/>
                  </a:moveTo>
                  <a:cubicBezTo>
                    <a:pt x="220" y="34"/>
                    <a:pt x="220" y="34"/>
                    <a:pt x="220" y="34"/>
                  </a:cubicBezTo>
                  <a:cubicBezTo>
                    <a:pt x="214" y="37"/>
                    <a:pt x="207" y="38"/>
                    <a:pt x="201" y="3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47" y="38"/>
                    <a:pt x="40" y="37"/>
                    <a:pt x="35" y="3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6"/>
                    <a:pt x="15" y="13"/>
                    <a:pt x="20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2"/>
                    <a:pt x="50" y="23"/>
                    <a:pt x="53" y="23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204" y="23"/>
                    <a:pt x="210" y="22"/>
                    <a:pt x="212" y="20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9" y="13"/>
                    <a:pt x="242" y="16"/>
                    <a:pt x="24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88961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99132E-6 1.25738E-6 L -1.99132E-6 0.026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3.7902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4184E-6 4.44848E-6 L 3.34184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34184E-6 4.95234E-6 L 3.34184E-6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4.40388E-6 -1.85656E-6 L -4.40388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99132E-6 3.49523E-7 L -1.99132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7.3781E-7 3.55878E-6 L -7.3781E-7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Rounded Rectangle 154"/>
          <p:cNvSpPr/>
          <p:nvPr/>
        </p:nvSpPr>
        <p:spPr bwMode="auto">
          <a:xfrm>
            <a:off x="931558" y="65522"/>
            <a:ext cx="11268146" cy="6736780"/>
          </a:xfrm>
          <a:prstGeom prst="round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6513" y="2673626"/>
            <a:ext cx="1153260" cy="156852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9537" y="2685712"/>
            <a:ext cx="876234" cy="7482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7837" y="578398"/>
            <a:ext cx="645949" cy="90238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0237" y="730798"/>
            <a:ext cx="645949" cy="9023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2637" y="883198"/>
            <a:ext cx="645949" cy="90238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5037" y="1035598"/>
            <a:ext cx="645949" cy="90238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937" y="2838112"/>
            <a:ext cx="876234" cy="74820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337" y="2990512"/>
            <a:ext cx="876234" cy="7482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6737" y="3142912"/>
            <a:ext cx="876234" cy="7482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0442" y="535607"/>
            <a:ext cx="1035050" cy="109757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4244" y="5013869"/>
            <a:ext cx="796992" cy="89028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6280" y="5189884"/>
            <a:ext cx="796992" cy="890289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9275" y="4862332"/>
            <a:ext cx="692224" cy="101341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839760" y="4946650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45263" y="5332112"/>
            <a:ext cx="692224" cy="101341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1057137" y="5427029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90938" y="2784302"/>
            <a:ext cx="767410" cy="1123487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36926" y="3254082"/>
            <a:ext cx="767410" cy="11234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7391" y="4816817"/>
            <a:ext cx="2857500" cy="1500188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62583" y="2611340"/>
            <a:ext cx="767410" cy="112348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8571" y="3081120"/>
            <a:ext cx="767410" cy="112348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9111" y="4794125"/>
            <a:ext cx="692224" cy="101341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399596" y="4878443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5099" y="5263905"/>
            <a:ext cx="692224" cy="1013415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616973" y="5358822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40600" y="718026"/>
            <a:ext cx="1011375" cy="94830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64351" y="5342921"/>
            <a:ext cx="796992" cy="890289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2624014" y="1980609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rontend Load Balancers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758838" y="434796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REST API Endpoin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170237" y="6244982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er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196985" y="401363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ile Server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790612" y="6276162"/>
            <a:ext cx="320780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tainer Image Repositor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790612" y="1774577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guration DB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605301" y="1826538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ata Cache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2842" y="688007"/>
            <a:ext cx="1035050" cy="1097575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8821575" y="415138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nux Workers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896096" y="6191725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indows Workers</a:t>
            </a:r>
          </a:p>
        </p:txBody>
      </p:sp>
      <p:sp>
        <p:nvSpPr>
          <p:cNvPr id="146" name="Right Arrow 145"/>
          <p:cNvSpPr/>
          <p:nvPr/>
        </p:nvSpPr>
        <p:spPr bwMode="auto">
          <a:xfrm>
            <a:off x="1411727" y="344663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7" name="Right Arrow 146"/>
          <p:cNvSpPr/>
          <p:nvPr/>
        </p:nvSpPr>
        <p:spPr bwMode="auto">
          <a:xfrm>
            <a:off x="1431627" y="5538720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8" name="Right Arrow 147"/>
          <p:cNvSpPr/>
          <p:nvPr/>
        </p:nvSpPr>
        <p:spPr bwMode="auto">
          <a:xfrm>
            <a:off x="1294249" y="126711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857798" y="134015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249798" y="3507194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RUD API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268258" y="558564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ing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2" name="Rectangle 151"/>
          <p:cNvSpPr/>
          <p:nvPr/>
        </p:nvSpPr>
        <p:spPr>
          <a:xfrm rot="16200000">
            <a:off x="-2784635" y="3083722"/>
            <a:ext cx="6648765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p Service Scale Unit</a:t>
            </a:r>
          </a:p>
        </p:txBody>
      </p:sp>
      <p:pic>
        <p:nvPicPr>
          <p:cNvPr id="153" name="Picture 15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25551" y="877986"/>
            <a:ext cx="1011375" cy="948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6425" y="3284718"/>
            <a:ext cx="552450" cy="55245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689" y="2815087"/>
            <a:ext cx="552450" cy="552450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5640" y="3129869"/>
            <a:ext cx="552450" cy="55245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0226" y="266461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72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ounded Rectangle 80"/>
          <p:cNvSpPr/>
          <p:nvPr/>
        </p:nvSpPr>
        <p:spPr>
          <a:xfrm>
            <a:off x="4819682" y="5554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ounded Rectangle 79"/>
          <p:cNvSpPr/>
          <p:nvPr/>
        </p:nvSpPr>
        <p:spPr>
          <a:xfrm>
            <a:off x="5105717" y="5326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818437" y="373062"/>
            <a:ext cx="4495800" cy="24384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539263" y="373062"/>
            <a:ext cx="3050574" cy="44196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048810" y="9121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xy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2047523" y="30457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/>
              <a:t>Orchestrator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2047523" y="51793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cal Container Cache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5381324" y="9064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1 Containe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5380037" y="3040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1 Container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380037" y="5173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sistent Site Content Mount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819943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2 Container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9342437" y="30369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curity &amp; Audit Service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9342437" y="515538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nitoring &amp; Logging Service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1051591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2 Container</a:t>
            </a:r>
          </a:p>
        </p:txBody>
      </p:sp>
      <p:cxnSp>
        <p:nvCxnSpPr>
          <p:cNvPr id="5" name="Straight Arrow Connector 4"/>
          <p:cNvCxnSpPr>
            <a:stCxn id="36" idx="2"/>
            <a:endCxn id="39" idx="0"/>
          </p:cNvCxnSpPr>
          <p:nvPr/>
        </p:nvCxnSpPr>
        <p:spPr>
          <a:xfrm flipH="1">
            <a:off x="2786663" y="2209801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9" idx="2"/>
            <a:endCxn id="40" idx="0"/>
          </p:cNvCxnSpPr>
          <p:nvPr/>
        </p:nvCxnSpPr>
        <p:spPr>
          <a:xfrm>
            <a:off x="2786663" y="4343401"/>
            <a:ext cx="0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6" idx="3"/>
            <a:endCxn id="43" idx="1"/>
          </p:cNvCxnSpPr>
          <p:nvPr/>
        </p:nvCxnSpPr>
        <p:spPr>
          <a:xfrm flipV="1">
            <a:off x="3527090" y="1555283"/>
            <a:ext cx="1854234" cy="569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4" idx="0"/>
            <a:endCxn id="43" idx="2"/>
          </p:cNvCxnSpPr>
          <p:nvPr/>
        </p:nvCxnSpPr>
        <p:spPr>
          <a:xfrm flipV="1">
            <a:off x="6119177" y="2204103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71" idx="1"/>
            <a:endCxn id="54" idx="3"/>
          </p:cNvCxnSpPr>
          <p:nvPr/>
        </p:nvCxnSpPr>
        <p:spPr>
          <a:xfrm flipH="1">
            <a:off x="9677717" y="1552158"/>
            <a:ext cx="838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50" idx="3"/>
            <a:endCxn id="43" idx="3"/>
          </p:cNvCxnSpPr>
          <p:nvPr/>
        </p:nvCxnSpPr>
        <p:spPr>
          <a:xfrm flipV="1">
            <a:off x="6858317" y="1555283"/>
            <a:ext cx="1287" cy="4267200"/>
          </a:xfrm>
          <a:prstGeom prst="bentConnector3">
            <a:avLst>
              <a:gd name="adj1" fmla="val 1786223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endCxn id="44" idx="3"/>
          </p:cNvCxnSpPr>
          <p:nvPr/>
        </p:nvCxnSpPr>
        <p:spPr>
          <a:xfrm flipH="1">
            <a:off x="6858317" y="3685757"/>
            <a:ext cx="220337" cy="312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2" idx="3"/>
            <a:endCxn id="60" idx="1"/>
          </p:cNvCxnSpPr>
          <p:nvPr/>
        </p:nvCxnSpPr>
        <p:spPr>
          <a:xfrm>
            <a:off x="7589837" y="2582862"/>
            <a:ext cx="1752600" cy="3221339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endCxn id="55" idx="1"/>
          </p:cNvCxnSpPr>
          <p:nvPr/>
        </p:nvCxnSpPr>
        <p:spPr>
          <a:xfrm flipV="1">
            <a:off x="8438231" y="3685758"/>
            <a:ext cx="904206" cy="497304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39" idx="3"/>
            <a:endCxn id="2" idx="2"/>
          </p:cNvCxnSpPr>
          <p:nvPr/>
        </p:nvCxnSpPr>
        <p:spPr>
          <a:xfrm>
            <a:off x="3525803" y="3694581"/>
            <a:ext cx="2538747" cy="1098081"/>
          </a:xfrm>
          <a:prstGeom prst="bentConnector4">
            <a:avLst>
              <a:gd name="adj1" fmla="val 19960"/>
              <a:gd name="adj2" fmla="val 12081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endCxn id="44" idx="1"/>
          </p:cNvCxnSpPr>
          <p:nvPr/>
        </p:nvCxnSpPr>
        <p:spPr>
          <a:xfrm rot="16200000" flipH="1">
            <a:off x="3804300" y="2113146"/>
            <a:ext cx="2136726" cy="1014747"/>
          </a:xfrm>
          <a:prstGeom prst="bentConnector2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ight Arrow 85"/>
          <p:cNvSpPr/>
          <p:nvPr/>
        </p:nvSpPr>
        <p:spPr bwMode="auto">
          <a:xfrm>
            <a:off x="350837" y="3573462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Right Arrow 88"/>
          <p:cNvSpPr/>
          <p:nvPr/>
        </p:nvSpPr>
        <p:spPr bwMode="auto">
          <a:xfrm>
            <a:off x="350837" y="1500421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-158151" y="1560980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-164024" y="368575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Metadata From SQL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306718" y="24936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589837" y="230962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2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5928631" y="2374521"/>
            <a:ext cx="1028745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SSH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627437" y="5067529"/>
            <a:ext cx="1244087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Manage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119" y="-64378"/>
            <a:ext cx="306038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nux Worker</a:t>
            </a:r>
            <a:endParaRPr lang="en-US" sz="4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97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pp Service Isolated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Layered security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 </a:t>
            </a: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scale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ybrid connectivit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32293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0A84CFF-7831-4F61-B90A-9E3954F3A16A}"/>
              </a:ext>
            </a:extLst>
          </p:cNvPr>
          <p:cNvGrpSpPr/>
          <p:nvPr/>
        </p:nvGrpSpPr>
        <p:grpSpPr>
          <a:xfrm>
            <a:off x="2478150" y="2797269"/>
            <a:ext cx="1395751" cy="1115366"/>
            <a:chOff x="2521160" y="2797169"/>
            <a:chExt cx="1395949" cy="1115524"/>
          </a:xfrm>
        </p:grpSpPr>
        <p:sp>
          <p:nvSpPr>
            <p:cNvPr id="113" name="TextBox 112"/>
            <p:cNvSpPr txBox="1"/>
            <p:nvPr/>
          </p:nvSpPr>
          <p:spPr>
            <a:xfrm>
              <a:off x="2521160" y="3624519"/>
              <a:ext cx="1395949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pp lock down</a:t>
              </a:r>
            </a:p>
          </p:txBody>
        </p:sp>
        <p:grpSp>
          <p:nvGrpSpPr>
            <p:cNvPr id="84" name="Group 640">
              <a:extLst>
                <a:ext uri="{FF2B5EF4-FFF2-40B4-BE49-F238E27FC236}">
                  <a16:creationId xmlns:a16="http://schemas.microsoft.com/office/drawing/2014/main" id="{3F765E83-DACD-4E84-872C-8E31FC0C276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969066" y="2797169"/>
              <a:ext cx="500137" cy="676656"/>
              <a:chOff x="4358" y="3128"/>
              <a:chExt cx="170" cy="230"/>
            </a:xfrm>
          </p:grpSpPr>
          <p:sp>
            <p:nvSpPr>
              <p:cNvPr id="86" name="Rectangle 641">
                <a:extLst>
                  <a:ext uri="{FF2B5EF4-FFF2-40B4-BE49-F238E27FC236}">
                    <a16:creationId xmlns:a16="http://schemas.microsoft.com/office/drawing/2014/main" id="{C2904A9A-F8C1-4C49-B560-F143E8E3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8" y="3235"/>
                <a:ext cx="170" cy="123"/>
              </a:xfrm>
              <a:prstGeom prst="rect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7" name="Freeform 642">
                <a:extLst>
                  <a:ext uri="{FF2B5EF4-FFF2-40B4-BE49-F238E27FC236}">
                    <a16:creationId xmlns:a16="http://schemas.microsoft.com/office/drawing/2014/main" id="{74B7A881-8FEA-4577-94F6-4D9257872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3" y="3128"/>
                <a:ext cx="120" cy="107"/>
              </a:xfrm>
              <a:custGeom>
                <a:avLst/>
                <a:gdLst>
                  <a:gd name="T0" fmla="*/ 62 w 62"/>
                  <a:gd name="T1" fmla="*/ 56 h 56"/>
                  <a:gd name="T2" fmla="*/ 62 w 62"/>
                  <a:gd name="T3" fmla="*/ 31 h 56"/>
                  <a:gd name="T4" fmla="*/ 31 w 62"/>
                  <a:gd name="T5" fmla="*/ 0 h 56"/>
                  <a:gd name="T6" fmla="*/ 0 w 62"/>
                  <a:gd name="T7" fmla="*/ 31 h 56"/>
                  <a:gd name="T8" fmla="*/ 0 w 6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56">
                    <a:moveTo>
                      <a:pt x="62" y="56"/>
                    </a:move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14"/>
                      <a:pt x="48" y="0"/>
                      <a:pt x="31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56"/>
                      <a:pt x="0" y="56"/>
                      <a:pt x="0" y="56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40F1309-FF79-4328-848C-D6B3C638F0E0}"/>
              </a:ext>
            </a:extLst>
          </p:cNvPr>
          <p:cNvGrpSpPr/>
          <p:nvPr/>
        </p:nvGrpSpPr>
        <p:grpSpPr>
          <a:xfrm>
            <a:off x="4565534" y="4788765"/>
            <a:ext cx="1505291" cy="1203298"/>
            <a:chOff x="4565300" y="4788948"/>
            <a:chExt cx="1505504" cy="1203469"/>
          </a:xfrm>
        </p:grpSpPr>
        <p:sp>
          <p:nvSpPr>
            <p:cNvPr id="125" name="TextBox 124"/>
            <p:cNvSpPr txBox="1"/>
            <p:nvPr/>
          </p:nvSpPr>
          <p:spPr>
            <a:xfrm>
              <a:off x="4565300" y="5506587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Global data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center footprint </a:t>
              </a:r>
            </a:p>
          </p:txBody>
        </p:sp>
        <p:sp>
          <p:nvSpPr>
            <p:cNvPr id="88" name="Freeform 90">
              <a:extLst>
                <a:ext uri="{FF2B5EF4-FFF2-40B4-BE49-F238E27FC236}">
                  <a16:creationId xmlns:a16="http://schemas.microsoft.com/office/drawing/2014/main" id="{C82553B9-F3B9-4E99-A75D-8FBBBF0C2A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16131" y="4788948"/>
              <a:ext cx="603841" cy="603841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dirty="0">
                <a:solidFill>
                  <a:srgbClr val="FFFF00"/>
                </a:solidFill>
                <a:latin typeface="Segoe UI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D08586-42F2-4947-AB00-E321A12FF153}"/>
              </a:ext>
            </a:extLst>
          </p:cNvPr>
          <p:cNvGrpSpPr/>
          <p:nvPr/>
        </p:nvGrpSpPr>
        <p:grpSpPr>
          <a:xfrm>
            <a:off x="6276974" y="4781490"/>
            <a:ext cx="1770146" cy="1210574"/>
            <a:chOff x="6276981" y="4781673"/>
            <a:chExt cx="1770397" cy="1210746"/>
          </a:xfrm>
        </p:grpSpPr>
        <p:sp>
          <p:nvSpPr>
            <p:cNvPr id="128" name="TextBox 127"/>
            <p:cNvSpPr txBox="1"/>
            <p:nvPr/>
          </p:nvSpPr>
          <p:spPr>
            <a:xfrm>
              <a:off x="6276981" y="5506589"/>
              <a:ext cx="177039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High availability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C2E75B9C-1F83-44B2-AEE1-DC0B0B7377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66392" y="4781673"/>
              <a:ext cx="591574" cy="647584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98161B14-56E0-4441-B209-6BBD4E8461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37B1D936-A099-487E-91EB-5BC93295A2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C354B458-43C5-468E-9E87-C0FEC2745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D07E8000-3ED1-4569-BDED-103BF87615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020CF40D-DB1D-44E1-A0EF-5E7F531818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537E3B03-E673-48B5-9830-A1E3D030C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1C2E9BE4-800B-44CA-80BD-A11AD78DEB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E556200B-E42E-4A3E-92E0-16CC22124E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99AF952B-108B-4019-9869-C8DF3EE5EF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23A63F62-9EC1-408F-88E3-50E5FB52E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858EAB2D-7057-41B6-861D-C0F5920DF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938800A9-97FB-4917-9B21-FA543160C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A6D1B890-88EB-4429-BFE8-7520B3DEB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72E83F7-5665-4EE8-82B6-30F299F8DF9B}"/>
              </a:ext>
            </a:extLst>
          </p:cNvPr>
          <p:cNvGrpSpPr/>
          <p:nvPr/>
        </p:nvGrpSpPr>
        <p:grpSpPr>
          <a:xfrm>
            <a:off x="6444551" y="2691455"/>
            <a:ext cx="1434989" cy="1418805"/>
            <a:chOff x="6444583" y="2691341"/>
            <a:chExt cx="1435193" cy="1419007"/>
          </a:xfrm>
        </p:grpSpPr>
        <p:sp>
          <p:nvSpPr>
            <p:cNvPr id="122" name="TextBox 121"/>
            <p:cNvSpPr txBox="1"/>
            <p:nvPr/>
          </p:nvSpPr>
          <p:spPr>
            <a:xfrm>
              <a:off x="6444583" y="3624518"/>
              <a:ext cx="1435193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Upgraded CPU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capacity</a:t>
              </a:r>
            </a:p>
          </p:txBody>
        </p:sp>
        <p:grpSp>
          <p:nvGrpSpPr>
            <p:cNvPr id="132" name="Group 777">
              <a:extLst>
                <a:ext uri="{FF2B5EF4-FFF2-40B4-BE49-F238E27FC236}">
                  <a16:creationId xmlns:a16="http://schemas.microsoft.com/office/drawing/2014/main" id="{BECC8EE0-0C91-41EE-9857-C449F54427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37603" y="2691341"/>
              <a:ext cx="449151" cy="717934"/>
              <a:chOff x="3788" y="3539"/>
              <a:chExt cx="254" cy="406"/>
            </a:xfrm>
          </p:grpSpPr>
          <p:sp>
            <p:nvSpPr>
              <p:cNvPr id="133" name="Rectangle 778">
                <a:extLst>
                  <a:ext uri="{FF2B5EF4-FFF2-40B4-BE49-F238E27FC236}">
                    <a16:creationId xmlns:a16="http://schemas.microsoft.com/office/drawing/2014/main" id="{17C1B6A4-D886-44F7-8770-7C0137A52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7" y="3539"/>
                <a:ext cx="225" cy="406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5" name="Rectangle 779">
                <a:extLst>
                  <a:ext uri="{FF2B5EF4-FFF2-40B4-BE49-F238E27FC236}">
                    <a16:creationId xmlns:a16="http://schemas.microsoft.com/office/drawing/2014/main" id="{85EC42BA-5721-4C08-83B7-C65F9A4B7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569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6" name="Rectangle 780">
                <a:extLst>
                  <a:ext uri="{FF2B5EF4-FFF2-40B4-BE49-F238E27FC236}">
                    <a16:creationId xmlns:a16="http://schemas.microsoft.com/office/drawing/2014/main" id="{1740D746-6BF7-4F6D-A0F9-50EC4919A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656"/>
                <a:ext cx="159" cy="41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8" name="Rectangle 781">
                <a:extLst>
                  <a:ext uri="{FF2B5EF4-FFF2-40B4-BE49-F238E27FC236}">
                    <a16:creationId xmlns:a16="http://schemas.microsoft.com/office/drawing/2014/main" id="{13413E96-A07B-42F6-9117-85AB98429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742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9" name="Freeform 782">
                <a:extLst>
                  <a:ext uri="{FF2B5EF4-FFF2-40B4-BE49-F238E27FC236}">
                    <a16:creationId xmlns:a16="http://schemas.microsoft.com/office/drawing/2014/main" id="{3DE8F91D-F849-4559-829A-AF3C8751E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589"/>
                <a:ext cx="29" cy="72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1" name="Freeform 783">
                <a:extLst>
                  <a:ext uri="{FF2B5EF4-FFF2-40B4-BE49-F238E27FC236}">
                    <a16:creationId xmlns:a16="http://schemas.microsoft.com/office/drawing/2014/main" id="{301FF8D1-62CB-452F-AA72-D5E59273A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736"/>
                <a:ext cx="29" cy="70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2" name="Oval 784">
                <a:extLst>
                  <a:ext uri="{FF2B5EF4-FFF2-40B4-BE49-F238E27FC236}">
                    <a16:creationId xmlns:a16="http://schemas.microsoft.com/office/drawing/2014/main" id="{60CEA6A6-5E42-465E-8EF4-31E0DDEB5E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870"/>
                <a:ext cx="34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3" name="Oval 785">
                <a:extLst>
                  <a:ext uri="{FF2B5EF4-FFF2-40B4-BE49-F238E27FC236}">
                    <a16:creationId xmlns:a16="http://schemas.microsoft.com/office/drawing/2014/main" id="{263F86CD-95F3-4D61-B6CA-16C02CA0A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3" y="3870"/>
                <a:ext cx="33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4" name="Rectangle 786">
                <a:extLst>
                  <a:ext uri="{FF2B5EF4-FFF2-40B4-BE49-F238E27FC236}">
                    <a16:creationId xmlns:a16="http://schemas.microsoft.com/office/drawing/2014/main" id="{3A290026-39C1-4B94-903C-CFB283410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3870"/>
                <a:ext cx="32" cy="30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148" name="Picture 147">
            <a:extLst>
              <a:ext uri="{FF2B5EF4-FFF2-40B4-BE49-F238E27FC236}">
                <a16:creationId xmlns:a16="http://schemas.microsoft.com/office/drawing/2014/main" id="{9E2D8BCE-0DC4-443E-95F1-E358DA17C0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82BF5DE-4798-4DB9-8D25-8ECBBC87100C}"/>
              </a:ext>
            </a:extLst>
          </p:cNvPr>
          <p:cNvGrpSpPr/>
          <p:nvPr/>
        </p:nvGrpSpPr>
        <p:grpSpPr>
          <a:xfrm>
            <a:off x="453718" y="2744497"/>
            <a:ext cx="1606656" cy="1168138"/>
            <a:chOff x="452900" y="2744389"/>
            <a:chExt cx="1606883" cy="1168304"/>
          </a:xfrm>
        </p:grpSpPr>
        <p:sp>
          <p:nvSpPr>
            <p:cNvPr id="107" name="TextBox 106"/>
            <p:cNvSpPr txBox="1"/>
            <p:nvPr/>
          </p:nvSpPr>
          <p:spPr>
            <a:xfrm>
              <a:off x="452900" y="3624519"/>
              <a:ext cx="1606883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Network isolation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26E3FEC-B2F7-49FF-B324-9CF94E624DA1}"/>
                </a:ext>
              </a:extLst>
            </p:cNvPr>
            <p:cNvGrpSpPr/>
            <p:nvPr/>
          </p:nvGrpSpPr>
          <p:grpSpPr>
            <a:xfrm>
              <a:off x="921905" y="2744389"/>
              <a:ext cx="668872" cy="748809"/>
              <a:chOff x="2614389" y="3017044"/>
              <a:chExt cx="1643498" cy="1839912"/>
            </a:xfrm>
          </p:grpSpPr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14B9CE3-149C-4924-8BDF-2B37BFB42257}"/>
                  </a:ext>
                </a:extLst>
              </p:cNvPr>
              <p:cNvSpPr/>
              <p:nvPr/>
            </p:nvSpPr>
            <p:spPr>
              <a:xfrm>
                <a:off x="3080538" y="3581400"/>
                <a:ext cx="711200" cy="711200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999CE609-A5CD-4D7F-A5A0-EDE458C20439}"/>
                  </a:ext>
                </a:extLst>
              </p:cNvPr>
              <p:cNvSpPr/>
              <p:nvPr/>
            </p:nvSpPr>
            <p:spPr>
              <a:xfrm>
                <a:off x="3249210" y="3017044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81BDEEBA-2C54-4971-BCB8-40456FB9096E}"/>
                  </a:ext>
                </a:extLst>
              </p:cNvPr>
              <p:cNvSpPr/>
              <p:nvPr/>
            </p:nvSpPr>
            <p:spPr>
              <a:xfrm>
                <a:off x="3249210" y="4483100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3A75DBE8-AA44-45E3-B6B1-ACE6597A2A2A}"/>
                  </a:ext>
                </a:extLst>
              </p:cNvPr>
              <p:cNvSpPr/>
              <p:nvPr/>
            </p:nvSpPr>
            <p:spPr>
              <a:xfrm>
                <a:off x="2614389" y="3383558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2088A4F2-107E-481A-8B5C-5E1B59D7B99F}"/>
                  </a:ext>
                </a:extLst>
              </p:cNvPr>
              <p:cNvSpPr/>
              <p:nvPr/>
            </p:nvSpPr>
            <p:spPr>
              <a:xfrm>
                <a:off x="3884031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2130A0F7-B243-4308-892B-F6E753B6941E}"/>
                  </a:ext>
                </a:extLst>
              </p:cNvPr>
              <p:cNvSpPr/>
              <p:nvPr/>
            </p:nvSpPr>
            <p:spPr>
              <a:xfrm>
                <a:off x="2614389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74479ABB-6321-4BF7-90F9-FCE36875C67D}"/>
                  </a:ext>
                </a:extLst>
              </p:cNvPr>
              <p:cNvSpPr/>
              <p:nvPr/>
            </p:nvSpPr>
            <p:spPr>
              <a:xfrm>
                <a:off x="3884031" y="3383558"/>
                <a:ext cx="373856" cy="373856"/>
              </a:xfrm>
              <a:prstGeom prst="ellipse">
                <a:avLst/>
              </a:prstGeom>
              <a:solidFill>
                <a:srgbClr val="FFFFFF"/>
              </a:solidFill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CB83E64E-D9A2-4914-A318-514A352E364B}"/>
                  </a:ext>
                </a:extLst>
              </p:cNvPr>
              <p:cNvCxnSpPr>
                <a:cxnSpLocks/>
                <a:stCxn id="170" idx="4"/>
                <a:endCxn id="169" idx="0"/>
              </p:cNvCxnSpPr>
              <p:nvPr/>
            </p:nvCxnSpPr>
            <p:spPr>
              <a:xfrm>
                <a:off x="3436138" y="33909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40F9CC90-AF66-4816-9225-12214F67B4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6138" y="42926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13EE12EF-B9AA-4D92-B264-EED868CBAE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71800" y="3667125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84919CEB-7AC0-46A6-8EBF-49677DEED0A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752838" y="4131072"/>
                <a:ext cx="147638" cy="104775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B646C295-CBC3-4BA6-A29C-07209FFD94C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71800" y="4090390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B6B632-B2A8-4A7A-BA90-E60EF8C60CBE}"/>
              </a:ext>
            </a:extLst>
          </p:cNvPr>
          <p:cNvGrpSpPr/>
          <p:nvPr/>
        </p:nvGrpSpPr>
        <p:grpSpPr>
          <a:xfrm>
            <a:off x="8802185" y="4861378"/>
            <a:ext cx="879101" cy="1130686"/>
            <a:chOff x="8748765" y="4861573"/>
            <a:chExt cx="879226" cy="1130846"/>
          </a:xfrm>
        </p:grpSpPr>
        <p:sp>
          <p:nvSpPr>
            <p:cNvPr id="137" name="TextBox 136"/>
            <p:cNvSpPr txBox="1"/>
            <p:nvPr/>
          </p:nvSpPr>
          <p:spPr>
            <a:xfrm>
              <a:off x="8797802" y="5506589"/>
              <a:ext cx="830189" cy="485830"/>
            </a:xfrm>
            <a:prstGeom prst="rect">
              <a:avLst/>
            </a:prstGeom>
            <a:noFill/>
            <a:ln w="44450">
              <a:noFill/>
            </a:ln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Express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out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54A857-783D-4E00-97C1-9ADD5C99F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48765" y="4861573"/>
              <a:ext cx="874448" cy="53941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A21B44-B97F-4E63-B518-7EB46C6DC2C5}"/>
              </a:ext>
            </a:extLst>
          </p:cNvPr>
          <p:cNvGrpSpPr/>
          <p:nvPr/>
        </p:nvGrpSpPr>
        <p:grpSpPr>
          <a:xfrm>
            <a:off x="10550642" y="2838221"/>
            <a:ext cx="1160752" cy="1272039"/>
            <a:chOff x="10587114" y="2838129"/>
            <a:chExt cx="1160916" cy="1272219"/>
          </a:xfrm>
        </p:grpSpPr>
        <p:sp>
          <p:nvSpPr>
            <p:cNvPr id="134" name="TextBox 133"/>
            <p:cNvSpPr txBox="1"/>
            <p:nvPr/>
          </p:nvSpPr>
          <p:spPr>
            <a:xfrm>
              <a:off x="10589781" y="3624518"/>
              <a:ext cx="115558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onnections</a:t>
              </a: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2ED0296-97A6-4C0A-AEB2-8323AEC1953B}"/>
                </a:ext>
              </a:extLst>
            </p:cNvPr>
            <p:cNvSpPr/>
            <p:nvPr/>
          </p:nvSpPr>
          <p:spPr>
            <a:xfrm>
              <a:off x="10587114" y="2838129"/>
              <a:ext cx="1160916" cy="680784"/>
            </a:xfrm>
            <a:custGeom>
              <a:avLst/>
              <a:gdLst>
                <a:gd name="connsiteX0" fmla="*/ 89044 w 2057400"/>
                <a:gd name="connsiteY0" fmla="*/ 514206 h 1206500"/>
                <a:gd name="connsiteX1" fmla="*/ 584056 w 2057400"/>
                <a:gd name="connsiteY1" fmla="*/ 514206 h 1206500"/>
                <a:gd name="connsiteX2" fmla="*/ 673100 w 2057400"/>
                <a:gd name="connsiteY2" fmla="*/ 603250 h 1206500"/>
                <a:gd name="connsiteX3" fmla="*/ 584056 w 2057400"/>
                <a:gd name="connsiteY3" fmla="*/ 692294 h 1206500"/>
                <a:gd name="connsiteX4" fmla="*/ 89044 w 2057400"/>
                <a:gd name="connsiteY4" fmla="*/ 692294 h 1206500"/>
                <a:gd name="connsiteX5" fmla="*/ 0 w 2057400"/>
                <a:gd name="connsiteY5" fmla="*/ 603250 h 1206500"/>
                <a:gd name="connsiteX6" fmla="*/ 89044 w 2057400"/>
                <a:gd name="connsiteY6" fmla="*/ 514206 h 1206500"/>
                <a:gd name="connsiteX7" fmla="*/ 1035050 w 2057400"/>
                <a:gd name="connsiteY7" fmla="*/ 330200 h 1206500"/>
                <a:gd name="connsiteX8" fmla="*/ 1308100 w 2057400"/>
                <a:gd name="connsiteY8" fmla="*/ 603250 h 1206500"/>
                <a:gd name="connsiteX9" fmla="*/ 1035050 w 2057400"/>
                <a:gd name="connsiteY9" fmla="*/ 876300 h 1206500"/>
                <a:gd name="connsiteX10" fmla="*/ 762000 w 2057400"/>
                <a:gd name="connsiteY10" fmla="*/ 603250 h 1206500"/>
                <a:gd name="connsiteX11" fmla="*/ 1035050 w 2057400"/>
                <a:gd name="connsiteY11" fmla="*/ 330200 h 1206500"/>
                <a:gd name="connsiteX12" fmla="*/ 1035051 w 2057400"/>
                <a:gd name="connsiteY12" fmla="*/ 0 h 1206500"/>
                <a:gd name="connsiteX13" fmla="*/ 1626045 w 2057400"/>
                <a:gd name="connsiteY13" fmla="*/ 481674 h 1206500"/>
                <a:gd name="connsiteX14" fmla="*/ 1629325 w 2057400"/>
                <a:gd name="connsiteY14" fmla="*/ 514206 h 1206500"/>
                <a:gd name="connsiteX15" fmla="*/ 1968356 w 2057400"/>
                <a:gd name="connsiteY15" fmla="*/ 514206 h 1206500"/>
                <a:gd name="connsiteX16" fmla="*/ 2057400 w 2057400"/>
                <a:gd name="connsiteY16" fmla="*/ 603250 h 1206500"/>
                <a:gd name="connsiteX17" fmla="*/ 1968356 w 2057400"/>
                <a:gd name="connsiteY17" fmla="*/ 692294 h 1206500"/>
                <a:gd name="connsiteX18" fmla="*/ 1629325 w 2057400"/>
                <a:gd name="connsiteY18" fmla="*/ 692294 h 1206500"/>
                <a:gd name="connsiteX19" fmla="*/ 1626045 w 2057400"/>
                <a:gd name="connsiteY19" fmla="*/ 724826 h 1206500"/>
                <a:gd name="connsiteX20" fmla="*/ 1035051 w 2057400"/>
                <a:gd name="connsiteY20" fmla="*/ 1206500 h 1206500"/>
                <a:gd name="connsiteX21" fmla="*/ 534827 w 2057400"/>
                <a:gd name="connsiteY21" fmla="*/ 940533 h 1206500"/>
                <a:gd name="connsiteX22" fmla="*/ 499962 w 2057400"/>
                <a:gd name="connsiteY22" fmla="*/ 876300 h 1206500"/>
                <a:gd name="connsiteX23" fmla="*/ 672346 w 2057400"/>
                <a:gd name="connsiteY23" fmla="*/ 876300 h 1206500"/>
                <a:gd name="connsiteX24" fmla="*/ 712877 w 2057400"/>
                <a:gd name="connsiteY24" fmla="*/ 925425 h 1206500"/>
                <a:gd name="connsiteX25" fmla="*/ 1035051 w 2057400"/>
                <a:gd name="connsiteY25" fmla="*/ 1058873 h 1206500"/>
                <a:gd name="connsiteX26" fmla="*/ 1490674 w 2057400"/>
                <a:gd name="connsiteY26" fmla="*/ 603250 h 1206500"/>
                <a:gd name="connsiteX27" fmla="*/ 1035051 w 2057400"/>
                <a:gd name="connsiteY27" fmla="*/ 147627 h 1206500"/>
                <a:gd name="connsiteX28" fmla="*/ 712877 w 2057400"/>
                <a:gd name="connsiteY28" fmla="*/ 281076 h 1206500"/>
                <a:gd name="connsiteX29" fmla="*/ 672346 w 2057400"/>
                <a:gd name="connsiteY29" fmla="*/ 330200 h 1206500"/>
                <a:gd name="connsiteX30" fmla="*/ 499962 w 2057400"/>
                <a:gd name="connsiteY30" fmla="*/ 330200 h 1206500"/>
                <a:gd name="connsiteX31" fmla="*/ 534827 w 2057400"/>
                <a:gd name="connsiteY31" fmla="*/ 265967 h 1206500"/>
                <a:gd name="connsiteX32" fmla="*/ 1035051 w 2057400"/>
                <a:gd name="connsiteY32" fmla="*/ 0 h 120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57400" h="1206500">
                  <a:moveTo>
                    <a:pt x="89044" y="514206"/>
                  </a:moveTo>
                  <a:lnTo>
                    <a:pt x="584056" y="514206"/>
                  </a:lnTo>
                  <a:cubicBezTo>
                    <a:pt x="633234" y="514206"/>
                    <a:pt x="673100" y="554072"/>
                    <a:pt x="673100" y="603250"/>
                  </a:cubicBezTo>
                  <a:cubicBezTo>
                    <a:pt x="673100" y="652428"/>
                    <a:pt x="633234" y="692294"/>
                    <a:pt x="584056" y="692294"/>
                  </a:cubicBezTo>
                  <a:lnTo>
                    <a:pt x="89044" y="692294"/>
                  </a:lnTo>
                  <a:cubicBezTo>
                    <a:pt x="39866" y="692294"/>
                    <a:pt x="0" y="652428"/>
                    <a:pt x="0" y="603250"/>
                  </a:cubicBezTo>
                  <a:cubicBezTo>
                    <a:pt x="0" y="554072"/>
                    <a:pt x="39866" y="514206"/>
                    <a:pt x="89044" y="514206"/>
                  </a:cubicBezTo>
                  <a:close/>
                  <a:moveTo>
                    <a:pt x="1035050" y="330200"/>
                  </a:moveTo>
                  <a:cubicBezTo>
                    <a:pt x="1185851" y="330200"/>
                    <a:pt x="1308100" y="452449"/>
                    <a:pt x="1308100" y="603250"/>
                  </a:cubicBezTo>
                  <a:cubicBezTo>
                    <a:pt x="1308100" y="754051"/>
                    <a:pt x="1185851" y="876300"/>
                    <a:pt x="1035050" y="876300"/>
                  </a:cubicBezTo>
                  <a:cubicBezTo>
                    <a:pt x="884249" y="876300"/>
                    <a:pt x="762000" y="754051"/>
                    <a:pt x="762000" y="603250"/>
                  </a:cubicBezTo>
                  <a:cubicBezTo>
                    <a:pt x="762000" y="452449"/>
                    <a:pt x="884249" y="330200"/>
                    <a:pt x="1035050" y="330200"/>
                  </a:cubicBezTo>
                  <a:close/>
                  <a:moveTo>
                    <a:pt x="1035051" y="0"/>
                  </a:moveTo>
                  <a:cubicBezTo>
                    <a:pt x="1326571" y="0"/>
                    <a:pt x="1569795" y="206783"/>
                    <a:pt x="1626045" y="481674"/>
                  </a:cubicBezTo>
                  <a:lnTo>
                    <a:pt x="1629325" y="514206"/>
                  </a:lnTo>
                  <a:lnTo>
                    <a:pt x="1968356" y="514206"/>
                  </a:lnTo>
                  <a:cubicBezTo>
                    <a:pt x="2017534" y="514206"/>
                    <a:pt x="2057400" y="554072"/>
                    <a:pt x="2057400" y="603250"/>
                  </a:cubicBezTo>
                  <a:cubicBezTo>
                    <a:pt x="2057400" y="652428"/>
                    <a:pt x="2017534" y="692294"/>
                    <a:pt x="1968356" y="692294"/>
                  </a:cubicBezTo>
                  <a:lnTo>
                    <a:pt x="1629325" y="692294"/>
                  </a:lnTo>
                  <a:lnTo>
                    <a:pt x="1626045" y="724826"/>
                  </a:lnTo>
                  <a:cubicBezTo>
                    <a:pt x="1569795" y="999717"/>
                    <a:pt x="1326571" y="1206500"/>
                    <a:pt x="1035051" y="1206500"/>
                  </a:cubicBezTo>
                  <a:cubicBezTo>
                    <a:pt x="826823" y="1206500"/>
                    <a:pt x="643235" y="1100999"/>
                    <a:pt x="534827" y="940533"/>
                  </a:cubicBezTo>
                  <a:lnTo>
                    <a:pt x="499962" y="876300"/>
                  </a:lnTo>
                  <a:lnTo>
                    <a:pt x="672346" y="876300"/>
                  </a:lnTo>
                  <a:lnTo>
                    <a:pt x="712877" y="925425"/>
                  </a:lnTo>
                  <a:cubicBezTo>
                    <a:pt x="795329" y="1007876"/>
                    <a:pt x="909234" y="1058873"/>
                    <a:pt x="1035051" y="1058873"/>
                  </a:cubicBezTo>
                  <a:cubicBezTo>
                    <a:pt x="1286685" y="1058873"/>
                    <a:pt x="1490674" y="854884"/>
                    <a:pt x="1490674" y="603250"/>
                  </a:cubicBezTo>
                  <a:cubicBezTo>
                    <a:pt x="1490674" y="351616"/>
                    <a:pt x="1286685" y="147627"/>
                    <a:pt x="1035051" y="147627"/>
                  </a:cubicBezTo>
                  <a:cubicBezTo>
                    <a:pt x="909234" y="147627"/>
                    <a:pt x="795329" y="198625"/>
                    <a:pt x="712877" y="281076"/>
                  </a:cubicBezTo>
                  <a:lnTo>
                    <a:pt x="672346" y="330200"/>
                  </a:lnTo>
                  <a:lnTo>
                    <a:pt x="499962" y="330200"/>
                  </a:lnTo>
                  <a:lnTo>
                    <a:pt x="534827" y="265967"/>
                  </a:lnTo>
                  <a:cubicBezTo>
                    <a:pt x="643235" y="105502"/>
                    <a:pt x="826823" y="0"/>
                    <a:pt x="103505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09"/>
              <a:endParaRPr lang="en-US" sz="1836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69F0A6-FE1F-4457-BE9A-4086743EA25A}"/>
              </a:ext>
            </a:extLst>
          </p:cNvPr>
          <p:cNvGrpSpPr/>
          <p:nvPr/>
        </p:nvGrpSpPr>
        <p:grpSpPr>
          <a:xfrm>
            <a:off x="8544449" y="2786208"/>
            <a:ext cx="1557609" cy="1126426"/>
            <a:chOff x="8490994" y="2786107"/>
            <a:chExt cx="1557830" cy="1126585"/>
          </a:xfrm>
        </p:grpSpPr>
        <p:sp>
          <p:nvSpPr>
            <p:cNvPr id="131" name="TextBox 130"/>
            <p:cNvSpPr txBox="1"/>
            <p:nvPr/>
          </p:nvSpPr>
          <p:spPr>
            <a:xfrm>
              <a:off x="8490994" y="3624518"/>
              <a:ext cx="1557830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Point to site VPN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C742B44C-3D39-41A5-A586-5ABFEA20643F}"/>
                </a:ext>
              </a:extLst>
            </p:cNvPr>
            <p:cNvGrpSpPr/>
            <p:nvPr/>
          </p:nvGrpSpPr>
          <p:grpSpPr>
            <a:xfrm>
              <a:off x="9015252" y="2786107"/>
              <a:ext cx="509313" cy="689070"/>
              <a:chOff x="4962101" y="5825486"/>
              <a:chExt cx="371712" cy="502904"/>
            </a:xfrm>
          </p:grpSpPr>
          <p:grpSp>
            <p:nvGrpSpPr>
              <p:cNvPr id="197" name="Group 640">
                <a:extLst>
                  <a:ext uri="{FF2B5EF4-FFF2-40B4-BE49-F238E27FC236}">
                    <a16:creationId xmlns:a16="http://schemas.microsoft.com/office/drawing/2014/main" id="{F15CD725-B87B-4864-800C-5002F09C998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962101" y="5825486"/>
                <a:ext cx="371712" cy="502904"/>
                <a:chOff x="4358" y="3128"/>
                <a:chExt cx="170" cy="230"/>
              </a:xfrm>
            </p:grpSpPr>
            <p:sp>
              <p:nvSpPr>
                <p:cNvPr id="202" name="Rectangle 641">
                  <a:extLst>
                    <a:ext uri="{FF2B5EF4-FFF2-40B4-BE49-F238E27FC236}">
                      <a16:creationId xmlns:a16="http://schemas.microsoft.com/office/drawing/2014/main" id="{D881CDF5-076B-4CB1-BAEA-76E7B29CDC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58" y="3235"/>
                  <a:ext cx="170" cy="123"/>
                </a:xfrm>
                <a:prstGeom prst="rect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3" name="Freeform 642">
                  <a:extLst>
                    <a:ext uri="{FF2B5EF4-FFF2-40B4-BE49-F238E27FC236}">
                      <a16:creationId xmlns:a16="http://schemas.microsoft.com/office/drawing/2014/main" id="{B5E79779-BCB2-44FD-99E0-84CC474DB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3" y="3128"/>
                  <a:ext cx="120" cy="107"/>
                </a:xfrm>
                <a:custGeom>
                  <a:avLst/>
                  <a:gdLst>
                    <a:gd name="T0" fmla="*/ 62 w 62"/>
                    <a:gd name="T1" fmla="*/ 56 h 56"/>
                    <a:gd name="T2" fmla="*/ 62 w 62"/>
                    <a:gd name="T3" fmla="*/ 31 h 56"/>
                    <a:gd name="T4" fmla="*/ 31 w 62"/>
                    <a:gd name="T5" fmla="*/ 0 h 56"/>
                    <a:gd name="T6" fmla="*/ 0 w 62"/>
                    <a:gd name="T7" fmla="*/ 31 h 56"/>
                    <a:gd name="T8" fmla="*/ 0 w 62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56">
                      <a:moveTo>
                        <a:pt x="62" y="56"/>
                      </a:moveTo>
                      <a:cubicBezTo>
                        <a:pt x="62" y="31"/>
                        <a:pt x="62" y="31"/>
                        <a:pt x="62" y="31"/>
                      </a:cubicBezTo>
                      <a:cubicBezTo>
                        <a:pt x="62" y="14"/>
                        <a:pt x="48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56"/>
                        <a:pt x="0" y="56"/>
                        <a:pt x="0" y="56"/>
                      </a:cubicBez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  <p:grpSp>
            <p:nvGrpSpPr>
              <p:cNvPr id="198" name="Group 72">
                <a:extLst>
                  <a:ext uri="{FF2B5EF4-FFF2-40B4-BE49-F238E27FC236}">
                    <a16:creationId xmlns:a16="http://schemas.microsoft.com/office/drawing/2014/main" id="{BD2F43E3-00B7-4AA4-92E7-D18D7B3072D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058264" y="6102711"/>
                <a:ext cx="179386" cy="179386"/>
                <a:chOff x="3681" y="1967"/>
                <a:chExt cx="468" cy="468"/>
              </a:xfrm>
            </p:grpSpPr>
            <p:sp>
              <p:nvSpPr>
                <p:cNvPr id="199" name="Line 73">
                  <a:extLst>
                    <a:ext uri="{FF2B5EF4-FFF2-40B4-BE49-F238E27FC236}">
                      <a16:creationId xmlns:a16="http://schemas.microsoft.com/office/drawing/2014/main" id="{939428EF-E863-4A01-904B-BAF1683544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3" y="2200"/>
                  <a:ext cx="225" cy="0"/>
                </a:xfrm>
                <a:prstGeom prst="lin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0" name="Freeform 74">
                  <a:extLst>
                    <a:ext uri="{FF2B5EF4-FFF2-40B4-BE49-F238E27FC236}">
                      <a16:creationId xmlns:a16="http://schemas.microsoft.com/office/drawing/2014/main" id="{2ED52E46-BA00-47D8-A0B9-DA6F2358EA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2" y="2086"/>
                  <a:ext cx="114" cy="228"/>
                </a:xfrm>
                <a:custGeom>
                  <a:avLst/>
                  <a:gdLst>
                    <a:gd name="T0" fmla="*/ 0 w 114"/>
                    <a:gd name="T1" fmla="*/ 0 h 228"/>
                    <a:gd name="T2" fmla="*/ 114 w 114"/>
                    <a:gd name="T3" fmla="*/ 114 h 228"/>
                    <a:gd name="T4" fmla="*/ 0 w 114"/>
                    <a:gd name="T5" fmla="*/ 228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4" h="228">
                      <a:moveTo>
                        <a:pt x="0" y="0"/>
                      </a:moveTo>
                      <a:lnTo>
                        <a:pt x="114" y="114"/>
                      </a:lnTo>
                      <a:lnTo>
                        <a:pt x="0" y="228"/>
                      </a:ln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1" name="Oval 75">
                  <a:extLst>
                    <a:ext uri="{FF2B5EF4-FFF2-40B4-BE49-F238E27FC236}">
                      <a16:creationId xmlns:a16="http://schemas.microsoft.com/office/drawing/2014/main" id="{B19A4154-F5BF-4D92-966C-8FDE04F15B5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1" y="1967"/>
                  <a:ext cx="468" cy="468"/>
                </a:xfrm>
                <a:prstGeom prst="ellips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10596635" y="4868651"/>
            <a:ext cx="1068769" cy="1123411"/>
            <a:chOff x="12421170" y="4868847"/>
            <a:chExt cx="1068921" cy="1123570"/>
          </a:xfrm>
        </p:grpSpPr>
        <p:pic>
          <p:nvPicPr>
            <p:cNvPr id="117" name="Picture 116">
              <a:extLst/>
            </p:cNvPr>
            <p:cNvPicPr>
              <a:picLocks noChangeAspect="1"/>
            </p:cNvPicPr>
            <p:nvPr/>
          </p:nvPicPr>
          <p:blipFill>
            <a:blip r:embed="rId5">
              <a:lum bright="100000"/>
            </a:blip>
            <a:stretch>
              <a:fillRect/>
            </a:stretch>
          </p:blipFill>
          <p:spPr>
            <a:xfrm>
              <a:off x="12568010" y="4868847"/>
              <a:ext cx="775240" cy="457200"/>
            </a:xfrm>
            <a:prstGeom prst="rect">
              <a:avLst/>
            </a:prstGeom>
          </p:spPr>
        </p:pic>
        <p:sp>
          <p:nvSpPr>
            <p:cNvPr id="120" name="TextBox 119"/>
            <p:cNvSpPr txBox="1"/>
            <p:nvPr/>
          </p:nvSpPr>
          <p:spPr>
            <a:xfrm>
              <a:off x="12421170" y="5506587"/>
              <a:ext cx="1068921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VNET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integration</a:t>
              </a: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4D3B9F69-B722-4BA3-89C5-DECC13DDD7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lum bright="-20000" contrast="40000"/>
          </a:blip>
          <a:stretch>
            <a:fillRect/>
          </a:stretch>
        </p:blipFill>
        <p:spPr>
          <a:xfrm>
            <a:off x="2863994" y="4793987"/>
            <a:ext cx="673598" cy="674118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50B6B12-E7B6-4845-860A-A612E9B29F70}"/>
              </a:ext>
            </a:extLst>
          </p:cNvPr>
          <p:cNvSpPr txBox="1"/>
          <p:nvPr/>
        </p:nvSpPr>
        <p:spPr>
          <a:xfrm>
            <a:off x="2601587" y="5543636"/>
            <a:ext cx="1148879" cy="485762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913489">
              <a:defRPr/>
            </a:pPr>
            <a:r>
              <a:rPr lang="en-US" sz="1399" dirty="0">
                <a:latin typeface="Segoe UI"/>
              </a:rPr>
              <a:t>Application </a:t>
            </a:r>
          </a:p>
          <a:p>
            <a:pPr defTabSz="913489">
              <a:defRPr/>
            </a:pPr>
            <a:r>
              <a:rPr lang="en-US" sz="1399" dirty="0">
                <a:latin typeface="Segoe UI"/>
              </a:rPr>
              <a:t>Gateway</a:t>
            </a:r>
          </a:p>
        </p:txBody>
      </p:sp>
    </p:spTree>
    <p:extLst>
      <p:ext uri="{BB962C8B-B14F-4D97-AF65-F5344CB8AC3E}">
        <p14:creationId xmlns:p14="http://schemas.microsoft.com/office/powerpoint/2010/main" val="7025738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4.9704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-2.31956E-6 L 2.20066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1.81571E-8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4.50345E-6 3.59964E-6 L 4.50345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75977E-6 -1.62506E-6 L -2.75977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8.78223E-7 1.50704E-6 L -8.78223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2.75977E-6 -3.26827E-7 L -2.75977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I Managemen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82" y="2015688"/>
            <a:ext cx="2963144" cy="296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965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/>
        </p:nvSpPr>
        <p:spPr bwMode="auto">
          <a:xfrm>
            <a:off x="5025590" y="3228235"/>
            <a:ext cx="1479301" cy="1479301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common?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344852" y="2334188"/>
            <a:ext cx="1479301" cy="1479301"/>
            <a:chOff x="1481959" y="1849821"/>
            <a:chExt cx="1450427" cy="1450427"/>
          </a:xfrm>
        </p:grpSpPr>
        <p:sp>
          <p:nvSpPr>
            <p:cNvPr id="4" name="Oval 3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DB323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17134" y="2316501"/>
              <a:ext cx="991297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Mobile</a:t>
              </a:r>
              <a:endParaRPr lang="en-US" sz="1632" dirty="0" err="1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33882" y="4168522"/>
            <a:ext cx="1479301" cy="1479301"/>
            <a:chOff x="1481959" y="1849821"/>
            <a:chExt cx="1450427" cy="1450427"/>
          </a:xfrm>
        </p:grpSpPr>
        <p:sp>
          <p:nvSpPr>
            <p:cNvPr id="12" name="Oval 11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16759" y="2167230"/>
              <a:ext cx="1380827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loud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omputing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025591" y="1434794"/>
            <a:ext cx="1479301" cy="1479301"/>
            <a:chOff x="1481957" y="1825670"/>
            <a:chExt cx="1450427" cy="1450427"/>
          </a:xfrm>
        </p:grpSpPr>
        <p:sp>
          <p:nvSpPr>
            <p:cNvPr id="15" name="Oval 14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F4C20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672474" y="1993809"/>
              <a:ext cx="1069395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Internet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of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Thing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25056" y="2334186"/>
            <a:ext cx="1479301" cy="1479301"/>
            <a:chOff x="1481957" y="1825669"/>
            <a:chExt cx="1450427" cy="1450427"/>
          </a:xfrm>
        </p:grpSpPr>
        <p:sp>
          <p:nvSpPr>
            <p:cNvPr id="18" name="Oval 17"/>
            <p:cNvSpPr/>
            <p:nvPr/>
          </p:nvSpPr>
          <p:spPr bwMode="auto">
            <a:xfrm>
              <a:off x="1481957" y="1825669"/>
              <a:ext cx="1450427" cy="1450427"/>
            </a:xfrm>
            <a:prstGeom prst="ellipse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33968" y="2143079"/>
              <a:ext cx="1146404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Machin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Learning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625056" y="4168521"/>
            <a:ext cx="1479301" cy="1479301"/>
            <a:chOff x="1481957" y="1825670"/>
            <a:chExt cx="1450427" cy="1450427"/>
          </a:xfrm>
        </p:grpSpPr>
        <p:sp>
          <p:nvSpPr>
            <p:cNvPr id="21" name="Oval 20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65656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631951" y="1993809"/>
              <a:ext cx="1150443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oftwar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as a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ervice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979470" y="5098810"/>
            <a:ext cx="1479301" cy="1479301"/>
            <a:chOff x="1481957" y="1825670"/>
            <a:chExt cx="1450427" cy="1450427"/>
          </a:xfrm>
        </p:grpSpPr>
        <p:sp>
          <p:nvSpPr>
            <p:cNvPr id="24" name="Oval 23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00968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548496" y="2292350"/>
              <a:ext cx="1317348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Blockchain</a:t>
              </a:r>
              <a:endParaRPr lang="en-US" sz="1632" dirty="0">
                <a:solidFill>
                  <a:srgbClr val="FFFFFF"/>
                </a:solidFill>
                <a:latin typeface="Segoe UI Semilight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183700" y="3591200"/>
            <a:ext cx="1163079" cy="762459"/>
          </a:xfrm>
          <a:prstGeom prst="rect">
            <a:avLst/>
          </a:prstGeom>
          <a:noFill/>
        </p:spPr>
        <p:txBody>
          <a:bodyPr wrap="non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3264">
                <a:solidFill>
                  <a:srgbClr val="353535"/>
                </a:solidFill>
                <a:latin typeface="Segoe UI Semilight"/>
              </a:rPr>
              <a:t>APIs</a:t>
            </a:r>
            <a:endParaRPr lang="en-US" sz="3264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6544164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mph" presetSubtype="0" accel="5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value of API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935574" y="4320592"/>
            <a:ext cx="2707891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Business mod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hann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cosystem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42079" y="4320592"/>
            <a:ext cx="2885666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Mob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User experience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rowdsourcing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8528132" y="4284663"/>
            <a:ext cx="3311055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Ag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mpowerment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Productivity</a:t>
            </a:r>
          </a:p>
        </p:txBody>
      </p:sp>
      <p:pic>
        <p:nvPicPr>
          <p:cNvPr id="9" name="Picture 8" descr="noun_handshake_2171.png"/>
          <p:cNvPicPr>
            <a:picLocks noChangeAspect="1"/>
          </p:cNvPicPr>
          <p:nvPr/>
        </p:nvPicPr>
        <p:blipFill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8858" y="1841948"/>
            <a:ext cx="2001324" cy="2001324"/>
          </a:xfrm>
          <a:prstGeom prst="rect">
            <a:avLst/>
          </a:prstGeom>
        </p:spPr>
      </p:pic>
      <p:pic>
        <p:nvPicPr>
          <p:cNvPr id="10" name="Picture 9" descr="noun_mini-tablet_56593.png"/>
          <p:cNvPicPr>
            <a:picLocks noChangeAspect="1"/>
          </p:cNvPicPr>
          <p:nvPr/>
        </p:nvPicPr>
        <p:blipFill>
          <a:blip r:embed="rId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076" y="2427598"/>
            <a:ext cx="1415672" cy="1415672"/>
          </a:xfrm>
          <a:prstGeom prst="rect">
            <a:avLst/>
          </a:prstGeom>
        </p:spPr>
      </p:pic>
      <p:pic>
        <p:nvPicPr>
          <p:cNvPr id="11" name="Picture 10" descr="noun_office_26565.png"/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5746" y="2455852"/>
            <a:ext cx="1315825" cy="131582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41080" y="1488669"/>
            <a:ext cx="3056884" cy="64698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User engagem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25219" y="1474818"/>
            <a:ext cx="1997497" cy="647080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Ecosystems</a:t>
            </a:r>
            <a:endParaRPr lang="en-US" sz="2448" b="1" dirty="0">
              <a:solidFill>
                <a:srgbClr val="505050"/>
              </a:solidFill>
              <a:latin typeface="Segoe UI Ligh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004336" y="1488669"/>
            <a:ext cx="2358645" cy="64703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Multi-modal </a:t>
            </a: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IT</a:t>
            </a:r>
          </a:p>
        </p:txBody>
      </p:sp>
      <p:sp>
        <p:nvSpPr>
          <p:cNvPr id="3" name="Rectangle 2"/>
          <p:cNvSpPr/>
          <p:nvPr/>
        </p:nvSpPr>
        <p:spPr>
          <a:xfrm>
            <a:off x="4269451" y="6048768"/>
            <a:ext cx="7093529" cy="766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Based on Gartner research note “Articulating the Business Value of APIs”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Anne Thomas and Kristin R. Moyer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24 March 2016</a:t>
            </a:r>
          </a:p>
        </p:txBody>
      </p:sp>
    </p:spTree>
    <p:extLst>
      <p:ext uri="{BB962C8B-B14F-4D97-AF65-F5344CB8AC3E}">
        <p14:creationId xmlns:p14="http://schemas.microsoft.com/office/powerpoint/2010/main" val="1129658676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89590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Curved Connector 17"/>
          <p:cNvCxnSpPr>
            <a:stCxn id="38" idx="2"/>
            <a:endCxn id="37" idx="3"/>
          </p:cNvCxnSpPr>
          <p:nvPr/>
        </p:nvCxnSpPr>
        <p:spPr>
          <a:xfrm rot="5400000">
            <a:off x="9539790" y="4577709"/>
            <a:ext cx="592467" cy="1976646"/>
          </a:xfrm>
          <a:prstGeom prst="curvedConnector2">
            <a:avLst/>
          </a:prstGeom>
          <a:ln w="28575">
            <a:solidFill>
              <a:srgbClr val="4885ED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Management - a hub for enterprise API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811334" y="2698638"/>
            <a:ext cx="6937133" cy="2563314"/>
            <a:chOff x="2063610" y="2268614"/>
            <a:chExt cx="8226805" cy="3039856"/>
          </a:xfrm>
        </p:grpSpPr>
        <p:grpSp>
          <p:nvGrpSpPr>
            <p:cNvPr id="44" name="Group 43"/>
            <p:cNvGrpSpPr/>
            <p:nvPr/>
          </p:nvGrpSpPr>
          <p:grpSpPr>
            <a:xfrm>
              <a:off x="2063610" y="2268614"/>
              <a:ext cx="8226805" cy="3039856"/>
              <a:chOff x="1886186" y="2384224"/>
              <a:chExt cx="8226805" cy="3039856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1886186" y="2923454"/>
                <a:ext cx="8226805" cy="25006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2821" y="2384224"/>
                <a:ext cx="780288" cy="780288"/>
              </a:xfrm>
              <a:prstGeom prst="rect">
                <a:avLst/>
              </a:prstGeom>
            </p:spPr>
          </p:pic>
        </p:grpSp>
        <p:sp>
          <p:nvSpPr>
            <p:cNvPr id="3" name="Rectangle 2"/>
            <p:cNvSpPr/>
            <p:nvPr/>
          </p:nvSpPr>
          <p:spPr bwMode="auto">
            <a:xfrm>
              <a:off x="2312848" y="3038086"/>
              <a:ext cx="2479040" cy="2092960"/>
            </a:xfrm>
            <a:prstGeom prst="rect">
              <a:avLst/>
            </a:prstGeom>
            <a:solidFill>
              <a:srgbClr val="DB47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auto">
            <a:xfrm>
              <a:off x="4944288" y="3038086"/>
              <a:ext cx="2479040" cy="2092960"/>
            </a:xfrm>
            <a:prstGeom prst="rect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7575728" y="3038086"/>
              <a:ext cx="2479040" cy="2092960"/>
            </a:xfrm>
            <a:prstGeom prst="rect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673475" y="3270522"/>
              <a:ext cx="195320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Consum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074552" y="3264263"/>
              <a:ext cx="1572830" cy="75947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Publish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390201" y="3263799"/>
              <a:ext cx="173023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>
                  <a:solidFill>
                    <a:srgbClr val="FFFFFF"/>
                  </a:solidFill>
                  <a:latin typeface="Segoe UI Semilight"/>
                </a:rPr>
                <a:t>Mediate</a:t>
              </a:r>
              <a:endParaRPr lang="en-US" sz="2448" i="1" dirty="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flipH="1">
              <a:off x="8053248" y="4129139"/>
              <a:ext cx="1615440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Azure portal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flipH="1">
              <a:off x="5585551" y="4129139"/>
              <a:ext cx="1322046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>
                  <a:solidFill>
                    <a:srgbClr val="FFFFFF"/>
                  </a:solidFill>
                  <a:latin typeface="Segoe UI Light"/>
                </a:rPr>
                <a:t>Gateway</a:t>
              </a:r>
              <a:endParaRPr lang="en-US" sz="1428" dirty="0">
                <a:solidFill>
                  <a:srgbClr val="FFFFFF"/>
                </a:solidFill>
                <a:latin typeface="Segoe UI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flipH="1">
              <a:off x="2622137" y="4129139"/>
              <a:ext cx="2001519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Developer port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0166" y="5524217"/>
            <a:ext cx="620021" cy="62002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1632" y="5524217"/>
            <a:ext cx="620021" cy="6200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2304" y="5459016"/>
            <a:ext cx="826417" cy="74853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3453" y="5535207"/>
            <a:ext cx="620021" cy="620021"/>
          </a:xfrm>
          <a:prstGeom prst="rect">
            <a:avLst/>
          </a:prstGeom>
        </p:spPr>
      </p:pic>
      <p:sp>
        <p:nvSpPr>
          <p:cNvPr id="29" name="Down Arrow 28"/>
          <p:cNvSpPr/>
          <p:nvPr/>
        </p:nvSpPr>
        <p:spPr bwMode="auto">
          <a:xfrm>
            <a:off x="6103427" y="297959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574" y="3596418"/>
            <a:ext cx="1264507" cy="1264507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 flipH="1">
            <a:off x="9876976" y="4565086"/>
            <a:ext cx="1894742" cy="70471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 managers and developers</a:t>
            </a:r>
          </a:p>
        </p:txBody>
      </p:sp>
      <p:sp>
        <p:nvSpPr>
          <p:cNvPr id="39" name="TextBox 38"/>
          <p:cNvSpPr txBox="1"/>
          <p:nvPr/>
        </p:nvSpPr>
        <p:spPr>
          <a:xfrm flipH="1">
            <a:off x="512486" y="4759241"/>
            <a:ext cx="217969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p developers</a:t>
            </a:r>
          </a:p>
        </p:txBody>
      </p:sp>
      <p:sp>
        <p:nvSpPr>
          <p:cNvPr id="40" name="TextBox 39"/>
          <p:cNvSpPr txBox="1"/>
          <p:nvPr/>
        </p:nvSpPr>
        <p:spPr>
          <a:xfrm flipH="1">
            <a:off x="5031332" y="1183672"/>
            <a:ext cx="249713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1</a:t>
            </a:r>
            <a:r>
              <a:rPr lang="en-US" sz="1428" baseline="30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</a:t>
            </a: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and 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3</a:t>
            </a:r>
            <a:r>
              <a:rPr lang="en-US" sz="1428" baseline="300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rd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party apps</a:t>
            </a:r>
            <a:endParaRPr lang="en-US" sz="1428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41" name="TextBox 40"/>
          <p:cNvSpPr txBox="1"/>
          <p:nvPr/>
        </p:nvSpPr>
        <p:spPr>
          <a:xfrm flipH="1">
            <a:off x="3215759" y="6226268"/>
            <a:ext cx="6043587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s on Azure and outside</a:t>
            </a:r>
          </a:p>
        </p:txBody>
      </p:sp>
      <p:sp>
        <p:nvSpPr>
          <p:cNvPr id="46" name="Down Arrow 45"/>
          <p:cNvSpPr/>
          <p:nvPr/>
        </p:nvSpPr>
        <p:spPr bwMode="auto">
          <a:xfrm>
            <a:off x="6050285" y="522552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Down Arrow 46"/>
          <p:cNvSpPr/>
          <p:nvPr/>
        </p:nvSpPr>
        <p:spPr bwMode="auto">
          <a:xfrm rot="5400000">
            <a:off x="9625993" y="4083448"/>
            <a:ext cx="352945" cy="248392"/>
          </a:xfrm>
          <a:prstGeom prst="downArrow">
            <a:avLst/>
          </a:prstGeom>
          <a:solidFill>
            <a:srgbClr val="4885E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Down Arrow 47"/>
          <p:cNvSpPr/>
          <p:nvPr/>
        </p:nvSpPr>
        <p:spPr bwMode="auto">
          <a:xfrm rot="5400000">
            <a:off x="2612551" y="4119526"/>
            <a:ext cx="352945" cy="248392"/>
          </a:xfrm>
          <a:prstGeom prst="downArrow">
            <a:avLst/>
          </a:prstGeom>
          <a:solidFill>
            <a:srgbClr val="DB47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9641" y="5435373"/>
            <a:ext cx="795822" cy="7958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1732" y="3388946"/>
            <a:ext cx="1302984" cy="1302984"/>
          </a:xfrm>
          <a:prstGeom prst="rect">
            <a:avLst/>
          </a:prstGeom>
        </p:spPr>
      </p:pic>
      <p:cxnSp>
        <p:nvCxnSpPr>
          <p:cNvPr id="25" name="Curved Connector 24"/>
          <p:cNvCxnSpPr>
            <a:stCxn id="36" idx="0"/>
          </p:cNvCxnSpPr>
          <p:nvPr/>
        </p:nvCxnSpPr>
        <p:spPr>
          <a:xfrm rot="5400000" flipH="1" flipV="1">
            <a:off x="2931121" y="970472"/>
            <a:ext cx="1339652" cy="3912238"/>
          </a:xfrm>
          <a:prstGeom prst="curvedConnector2">
            <a:avLst/>
          </a:prstGeom>
          <a:ln w="28575">
            <a:solidFill>
              <a:srgbClr val="DB473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11" cstate="screen">
            <a:duotone>
              <a:srgbClr val="D2D2D2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7852" y="5112342"/>
            <a:ext cx="1499848" cy="149984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 flipH="1">
            <a:off x="10035041" y="1211614"/>
            <a:ext cx="1845055" cy="264814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bstra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Secure &amp; prote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Evolv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ito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naly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Produc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e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endParaRPr lang="en-US" sz="1632" dirty="0">
              <a:solidFill>
                <a:srgbClr val="4884ED"/>
              </a:solidFill>
              <a:latin typeface="Segoe UI Light"/>
            </a:endParaRPr>
          </a:p>
        </p:txBody>
      </p:sp>
      <p:sp>
        <p:nvSpPr>
          <p:cNvPr id="45" name="TextBox 44"/>
          <p:cNvSpPr txBox="1"/>
          <p:nvPr/>
        </p:nvSpPr>
        <p:spPr>
          <a:xfrm flipH="1">
            <a:off x="660397" y="1211614"/>
            <a:ext cx="1968859" cy="2042210"/>
          </a:xfrm>
          <a:prstGeom prst="rect">
            <a:avLst/>
          </a:prstGeom>
          <a:solidFill>
            <a:srgbClr val="E6E6E6"/>
          </a:solidFill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Discove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Learn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On-board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Try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Get suppor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SDKs and sampl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795" y="1478586"/>
            <a:ext cx="1516206" cy="151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7177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4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>
          <a:xfrm>
            <a:off x="2637345" y="3878208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051848" y="3549452"/>
            <a:ext cx="699714" cy="614568"/>
            <a:chOff x="6129386" y="5150276"/>
            <a:chExt cx="699813" cy="614655"/>
          </a:xfrm>
        </p:grpSpPr>
        <p:sp>
          <p:nvSpPr>
            <p:cNvPr id="6" name="Rectangle 5"/>
            <p:cNvSpPr/>
            <p:nvPr/>
          </p:nvSpPr>
          <p:spPr bwMode="auto">
            <a:xfrm>
              <a:off x="6129386" y="5150276"/>
              <a:ext cx="699813" cy="61465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47830" y="5263424"/>
              <a:ext cx="456153" cy="380539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9602457" y="2545162"/>
            <a:ext cx="678064" cy="612505"/>
            <a:chOff x="9919644" y="3422364"/>
            <a:chExt cx="678160" cy="612592"/>
          </a:xfrm>
        </p:grpSpPr>
        <p:sp>
          <p:nvSpPr>
            <p:cNvPr id="10" name="Rectangle 9"/>
            <p:cNvSpPr/>
            <p:nvPr/>
          </p:nvSpPr>
          <p:spPr bwMode="auto">
            <a:xfrm>
              <a:off x="9919644" y="342236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87544" y="3557481"/>
              <a:ext cx="342359" cy="342359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10124037" y="2017574"/>
            <a:ext cx="678064" cy="612505"/>
            <a:chOff x="9526859" y="3746347"/>
            <a:chExt cx="678160" cy="612592"/>
          </a:xfrm>
        </p:grpSpPr>
        <p:sp>
          <p:nvSpPr>
            <p:cNvPr id="13" name="Rectangle 12"/>
            <p:cNvSpPr/>
            <p:nvPr/>
          </p:nvSpPr>
          <p:spPr bwMode="auto">
            <a:xfrm>
              <a:off x="9526859" y="374634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64439" y="3851143"/>
              <a:ext cx="402999" cy="402999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10724148" y="1546855"/>
            <a:ext cx="678064" cy="612505"/>
            <a:chOff x="10239299" y="3656573"/>
            <a:chExt cx="678160" cy="612592"/>
          </a:xfrm>
        </p:grpSpPr>
        <p:sp>
          <p:nvSpPr>
            <p:cNvPr id="16" name="Rectangle 15"/>
            <p:cNvSpPr/>
            <p:nvPr/>
          </p:nvSpPr>
          <p:spPr bwMode="auto">
            <a:xfrm>
              <a:off x="10239299" y="365657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9261" y="3763751"/>
              <a:ext cx="398236" cy="398236"/>
            </a:xfrm>
            <a:prstGeom prst="rect">
              <a:avLst/>
            </a:prstGeom>
          </p:spPr>
        </p:pic>
      </p:grpSp>
      <p:cxnSp>
        <p:nvCxnSpPr>
          <p:cNvPr id="21" name="Straight Arrow Connector 20"/>
          <p:cNvCxnSpPr/>
          <p:nvPr/>
        </p:nvCxnSpPr>
        <p:spPr>
          <a:xfrm flipV="1">
            <a:off x="6795762" y="2895634"/>
            <a:ext cx="2716871" cy="96421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810498" y="3868051"/>
            <a:ext cx="2728527" cy="1015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818866" y="3865586"/>
            <a:ext cx="2652971" cy="120369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6799969" y="3865585"/>
            <a:ext cx="2577836" cy="2391437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9573325" y="4879755"/>
            <a:ext cx="678064" cy="612505"/>
            <a:chOff x="9638111" y="5690734"/>
            <a:chExt cx="678160" cy="612592"/>
          </a:xfrm>
        </p:grpSpPr>
        <p:sp>
          <p:nvSpPr>
            <p:cNvPr id="40" name="Rectangle 39"/>
            <p:cNvSpPr/>
            <p:nvPr/>
          </p:nvSpPr>
          <p:spPr bwMode="auto">
            <a:xfrm>
              <a:off x="9638111" y="569073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6234" y="5783126"/>
              <a:ext cx="421913" cy="421913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10138800" y="4601293"/>
            <a:ext cx="678064" cy="612505"/>
            <a:chOff x="10598249" y="5680287"/>
            <a:chExt cx="678160" cy="612592"/>
          </a:xfrm>
        </p:grpSpPr>
        <p:sp>
          <p:nvSpPr>
            <p:cNvPr id="44" name="Rectangle 43"/>
            <p:cNvSpPr/>
            <p:nvPr/>
          </p:nvSpPr>
          <p:spPr bwMode="auto">
            <a:xfrm>
              <a:off x="10598249" y="568028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43152" y="5783126"/>
              <a:ext cx="447346" cy="447346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9615376" y="3559333"/>
            <a:ext cx="678064" cy="612505"/>
            <a:chOff x="7677937" y="5799355"/>
            <a:chExt cx="678160" cy="612592"/>
          </a:xfrm>
        </p:grpSpPr>
        <p:sp>
          <p:nvSpPr>
            <p:cNvPr id="47" name="Rectangle 46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10763260" y="4907545"/>
            <a:ext cx="678064" cy="612505"/>
            <a:chOff x="7677937" y="5799355"/>
            <a:chExt cx="678160" cy="612592"/>
          </a:xfrm>
        </p:grpSpPr>
        <p:sp>
          <p:nvSpPr>
            <p:cNvPr id="51" name="Rectangle 50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37238" y="5925872"/>
              <a:ext cx="359557" cy="359557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7871906" y="3026490"/>
            <a:ext cx="678064" cy="612505"/>
            <a:chOff x="11417657" y="4092312"/>
            <a:chExt cx="678160" cy="612592"/>
          </a:xfrm>
        </p:grpSpPr>
        <p:sp>
          <p:nvSpPr>
            <p:cNvPr id="55" name="Rectangle 54"/>
            <p:cNvSpPr/>
            <p:nvPr/>
          </p:nvSpPr>
          <p:spPr bwMode="auto">
            <a:xfrm>
              <a:off x="11417657" y="4092312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0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98347" y="4153272"/>
              <a:ext cx="516779" cy="516779"/>
            </a:xfrm>
            <a:prstGeom prst="rect">
              <a:avLst/>
            </a:prstGeom>
          </p:spPr>
        </p:pic>
      </p:grpSp>
      <p:grpSp>
        <p:nvGrpSpPr>
          <p:cNvPr id="57" name="Group 56"/>
          <p:cNvGrpSpPr/>
          <p:nvPr/>
        </p:nvGrpSpPr>
        <p:grpSpPr>
          <a:xfrm>
            <a:off x="7749855" y="4805695"/>
            <a:ext cx="678064" cy="612505"/>
            <a:chOff x="8278263" y="5986583"/>
            <a:chExt cx="678160" cy="612592"/>
          </a:xfrm>
        </p:grpSpPr>
        <p:sp>
          <p:nvSpPr>
            <p:cNvPr id="58" name="Rectangle 57"/>
            <p:cNvSpPr/>
            <p:nvPr/>
          </p:nvSpPr>
          <p:spPr bwMode="auto">
            <a:xfrm>
              <a:off x="8278263" y="598658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1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8461" y="6073997"/>
              <a:ext cx="437763" cy="437763"/>
            </a:xfrm>
            <a:prstGeom prst="rect">
              <a:avLst/>
            </a:prstGeom>
          </p:spPr>
        </p:pic>
      </p:grpSp>
      <p:pic>
        <p:nvPicPr>
          <p:cNvPr id="60" name="Picture 59"/>
          <p:cNvPicPr>
            <a:picLocks noChangeAspect="1"/>
          </p:cNvPicPr>
          <p:nvPr/>
        </p:nvPicPr>
        <p:blipFill>
          <a:blip r:embed="rId12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3897" y="5539031"/>
            <a:ext cx="1380799" cy="1380799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3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6236" y="3392939"/>
            <a:ext cx="889651" cy="889651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5259195" y="5118578"/>
            <a:ext cx="678064" cy="612505"/>
            <a:chOff x="4541837" y="5460126"/>
            <a:chExt cx="678160" cy="612592"/>
          </a:xfrm>
        </p:grpSpPr>
        <p:sp>
          <p:nvSpPr>
            <p:cNvPr id="62" name="Rectangle 61"/>
            <p:cNvSpPr/>
            <p:nvPr/>
          </p:nvSpPr>
          <p:spPr bwMode="auto">
            <a:xfrm>
              <a:off x="4541837" y="5460126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52317" y="5537822"/>
              <a:ext cx="457200" cy="457200"/>
            </a:xfrm>
            <a:prstGeom prst="rect">
              <a:avLst/>
            </a:prstGeom>
          </p:spPr>
        </p:pic>
      </p:grpSp>
      <p:grpSp>
        <p:nvGrpSpPr>
          <p:cNvPr id="70" name="Group 69"/>
          <p:cNvGrpSpPr/>
          <p:nvPr/>
        </p:nvGrpSpPr>
        <p:grpSpPr>
          <a:xfrm>
            <a:off x="6241708" y="5308986"/>
            <a:ext cx="678064" cy="612505"/>
            <a:chOff x="5788092" y="5403363"/>
            <a:chExt cx="678160" cy="612592"/>
          </a:xfrm>
        </p:grpSpPr>
        <p:sp>
          <p:nvSpPr>
            <p:cNvPr id="63" name="Rectangle 62"/>
            <p:cNvSpPr/>
            <p:nvPr/>
          </p:nvSpPr>
          <p:spPr bwMode="auto">
            <a:xfrm>
              <a:off x="5788092" y="540336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6838" y="5415288"/>
              <a:ext cx="600667" cy="600667"/>
            </a:xfrm>
            <a:prstGeom prst="rect">
              <a:avLst/>
            </a:prstGeom>
          </p:spPr>
        </p:pic>
      </p:grpSp>
      <p:cxnSp>
        <p:nvCxnSpPr>
          <p:cNvPr id="71" name="Straight Arrow Connector 70"/>
          <p:cNvCxnSpPr/>
          <p:nvPr/>
        </p:nvCxnSpPr>
        <p:spPr>
          <a:xfrm flipV="1">
            <a:off x="5598228" y="4239269"/>
            <a:ext cx="715674" cy="80141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H="1" flipV="1">
            <a:off x="6318280" y="4239269"/>
            <a:ext cx="194220" cy="957134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4727108" y="3868051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/>
          <p:nvPr/>
        </p:nvGrpSpPr>
        <p:grpSpPr>
          <a:xfrm>
            <a:off x="3966832" y="3571955"/>
            <a:ext cx="678064" cy="612505"/>
            <a:chOff x="3706490" y="3311319"/>
            <a:chExt cx="678160" cy="612592"/>
          </a:xfrm>
        </p:grpSpPr>
        <p:sp>
          <p:nvSpPr>
            <p:cNvPr id="87" name="Rectangle 86"/>
            <p:cNvSpPr/>
            <p:nvPr/>
          </p:nvSpPr>
          <p:spPr bwMode="auto">
            <a:xfrm>
              <a:off x="3706490" y="3311319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1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3299" y="3385344"/>
              <a:ext cx="464541" cy="464541"/>
            </a:xfrm>
            <a:prstGeom prst="rect">
              <a:avLst/>
            </a:prstGeom>
          </p:spPr>
        </p:pic>
      </p:grpSp>
      <p:pic>
        <p:nvPicPr>
          <p:cNvPr id="97" name="Picture 96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3460" y="1474412"/>
            <a:ext cx="689517" cy="611162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8" cstate="screen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4550" y="1474412"/>
            <a:ext cx="611162" cy="611162"/>
          </a:xfrm>
          <a:prstGeom prst="rect">
            <a:avLst/>
          </a:prstGeom>
        </p:spPr>
      </p:pic>
      <p:cxnSp>
        <p:nvCxnSpPr>
          <p:cNvPr id="99" name="Straight Arrow Connector 98"/>
          <p:cNvCxnSpPr/>
          <p:nvPr/>
        </p:nvCxnSpPr>
        <p:spPr>
          <a:xfrm>
            <a:off x="6015888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>
            <a:off x="7908332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H="1" flipV="1">
            <a:off x="4450162" y="1152564"/>
            <a:ext cx="729334" cy="661913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105"/>
          <p:cNvPicPr>
            <a:picLocks noChangeAspect="1"/>
          </p:cNvPicPr>
          <p:nvPr/>
        </p:nvPicPr>
        <p:blipFill>
          <a:blip r:embed="rId2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305" y="867865"/>
            <a:ext cx="596730" cy="584034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21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5087" y="864984"/>
            <a:ext cx="609427" cy="609427"/>
          </a:xfrm>
          <a:prstGeom prst="rect">
            <a:avLst/>
          </a:prstGeom>
        </p:spPr>
      </p:pic>
      <p:cxnSp>
        <p:nvCxnSpPr>
          <p:cNvPr id="108" name="Straight Arrow Connector 107"/>
          <p:cNvCxnSpPr/>
          <p:nvPr/>
        </p:nvCxnSpPr>
        <p:spPr>
          <a:xfrm flipH="1" flipV="1">
            <a:off x="1319319" y="1179704"/>
            <a:ext cx="680857" cy="1269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 flipV="1">
            <a:off x="2822041" y="1168935"/>
            <a:ext cx="717853" cy="1076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114"/>
          <p:cNvPicPr>
            <a:picLocks noChangeAspect="1"/>
          </p:cNvPicPr>
          <p:nvPr/>
        </p:nvPicPr>
        <p:blipFill>
          <a:blip r:embed="rId2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839" y="2120730"/>
            <a:ext cx="632458" cy="646512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6371" y="2120730"/>
            <a:ext cx="659981" cy="646512"/>
          </a:xfrm>
          <a:prstGeom prst="rect">
            <a:avLst/>
          </a:prstGeom>
        </p:spPr>
      </p:pic>
      <p:cxnSp>
        <p:nvCxnSpPr>
          <p:cNvPr id="117" name="Straight Arrow Connector 116"/>
          <p:cNvCxnSpPr/>
          <p:nvPr/>
        </p:nvCxnSpPr>
        <p:spPr>
          <a:xfrm flipH="1">
            <a:off x="4401726" y="1814477"/>
            <a:ext cx="777770" cy="63668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>
          <a:xfrm flipH="1">
            <a:off x="1312381" y="2436665"/>
            <a:ext cx="678379" cy="732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Picture 120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8549" y="2120730"/>
            <a:ext cx="689516" cy="611162"/>
          </a:xfrm>
          <a:prstGeom prst="rect">
            <a:avLst/>
          </a:prstGeom>
        </p:spPr>
      </p:pic>
      <p:cxnSp>
        <p:nvCxnSpPr>
          <p:cNvPr id="123" name="Straight Arrow Connector 122"/>
          <p:cNvCxnSpPr/>
          <p:nvPr/>
        </p:nvCxnSpPr>
        <p:spPr>
          <a:xfrm flipH="1">
            <a:off x="2822041" y="2443011"/>
            <a:ext cx="762846" cy="97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/>
          <p:cNvGrpSpPr/>
          <p:nvPr/>
        </p:nvGrpSpPr>
        <p:grpSpPr>
          <a:xfrm>
            <a:off x="3643748" y="862683"/>
            <a:ext cx="678064" cy="612505"/>
            <a:chOff x="7677937" y="5799355"/>
            <a:chExt cx="678160" cy="612592"/>
          </a:xfrm>
        </p:grpSpPr>
        <p:sp>
          <p:nvSpPr>
            <p:cNvPr id="129" name="Rectangle 128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134" name="Group 133"/>
          <p:cNvGrpSpPr/>
          <p:nvPr/>
        </p:nvGrpSpPr>
        <p:grpSpPr>
          <a:xfrm>
            <a:off x="5259195" y="1508224"/>
            <a:ext cx="678064" cy="612505"/>
            <a:chOff x="3184227" y="5623078"/>
            <a:chExt cx="678160" cy="612592"/>
          </a:xfrm>
        </p:grpSpPr>
        <p:sp>
          <p:nvSpPr>
            <p:cNvPr id="132" name="Rectangle 131"/>
            <p:cNvSpPr/>
            <p:nvPr/>
          </p:nvSpPr>
          <p:spPr bwMode="auto">
            <a:xfrm>
              <a:off x="3184227" y="5623078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2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9901" y="5730142"/>
              <a:ext cx="398462" cy="398462"/>
            </a:xfrm>
            <a:prstGeom prst="rect">
              <a:avLst/>
            </a:prstGeom>
          </p:spPr>
        </p:pic>
      </p:grpSp>
      <p:sp>
        <p:nvSpPr>
          <p:cNvPr id="137" name="TextBox 136"/>
          <p:cNvSpPr txBox="1"/>
          <p:nvPr/>
        </p:nvSpPr>
        <p:spPr>
          <a:xfrm>
            <a:off x="10664540" y="2528594"/>
            <a:ext cx="2129454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BACKEND</a:t>
            </a:r>
          </a:p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APIs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6613582" y="2624973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NETWORKING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952146" y="609152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IDENTITY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3240206" y="4348720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WAF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1079313" y="29589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CUSTOM ANALYTICS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195528" y="920662"/>
            <a:ext cx="2985690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CUSTOM REPORTS &amp; DASHBOARDAS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cxnSp>
        <p:nvCxnSpPr>
          <p:cNvPr id="146" name="Straight Arrow Connector 145"/>
          <p:cNvCxnSpPr/>
          <p:nvPr/>
        </p:nvCxnSpPr>
        <p:spPr>
          <a:xfrm flipH="1" flipV="1">
            <a:off x="5650917" y="2260785"/>
            <a:ext cx="629532" cy="118215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204708" y="3230568"/>
            <a:ext cx="678064" cy="612505"/>
            <a:chOff x="2407551" y="5512221"/>
            <a:chExt cx="664829" cy="600550"/>
          </a:xfrm>
        </p:grpSpPr>
        <p:sp>
          <p:nvSpPr>
            <p:cNvPr id="82" name="Rectangle 81"/>
            <p:cNvSpPr/>
            <p:nvPr/>
          </p:nvSpPr>
          <p:spPr bwMode="auto">
            <a:xfrm>
              <a:off x="2407551" y="5512221"/>
              <a:ext cx="664829" cy="60055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2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1601" y="5590280"/>
              <a:ext cx="460407" cy="460407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877316" y="3087443"/>
            <a:ext cx="3003713" cy="1706271"/>
            <a:chOff x="3800771" y="3027179"/>
            <a:chExt cx="2945084" cy="1672967"/>
          </a:xfrm>
        </p:grpSpPr>
        <p:sp>
          <p:nvSpPr>
            <p:cNvPr id="4" name="Rectangle 3"/>
            <p:cNvSpPr/>
            <p:nvPr/>
          </p:nvSpPr>
          <p:spPr bwMode="auto">
            <a:xfrm>
              <a:off x="3800771" y="3027179"/>
              <a:ext cx="2945084" cy="167296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2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0640" y="3125704"/>
              <a:ext cx="360009" cy="360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0202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  <p:bldP spid="139" grpId="0"/>
      <p:bldP spid="140" grpId="0"/>
      <p:bldP spid="141" grpId="0"/>
      <p:bldP spid="14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I Management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120854"/>
          </a:xfrm>
        </p:spPr>
        <p:txBody>
          <a:bodyPr/>
          <a:lstStyle/>
          <a:p>
            <a:r>
              <a:rPr lang="en-US" sz="3600" dirty="0"/>
              <a:t>API Versioning </a:t>
            </a:r>
            <a:r>
              <a:rPr lang="mr-IN" sz="3600" dirty="0"/>
              <a:t>–</a:t>
            </a:r>
            <a:r>
              <a:rPr lang="en-US" sz="3600" dirty="0"/>
              <a:t> Preview</a:t>
            </a:r>
          </a:p>
          <a:p>
            <a:r>
              <a:rPr lang="en-US" sz="3600" dirty="0"/>
              <a:t>Use Azure Key Vault secrets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Configure multiple custom domain names </a:t>
            </a:r>
            <a:r>
              <a:rPr lang="mr-IN" sz="3600" dirty="0"/>
              <a:t>–</a:t>
            </a:r>
            <a:r>
              <a:rPr lang="en-US" sz="3600" dirty="0"/>
              <a:t> GA </a:t>
            </a:r>
          </a:p>
          <a:p>
            <a:r>
              <a:rPr lang="en-US" sz="3600" dirty="0"/>
              <a:t>Expose API gateway capacity through Azure Monitor 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Azure API Management </a:t>
            </a:r>
            <a:r>
              <a:rPr lang="en-US" sz="3600" dirty="0" err="1"/>
              <a:t>PowerBI</a:t>
            </a:r>
            <a:r>
              <a:rPr lang="en-US" sz="3600"/>
              <a:t> Solution Template - GA</a:t>
            </a:r>
            <a:endParaRPr lang="en-U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641882"/>
            <a:ext cx="12436475" cy="584364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22338" y="4411049"/>
            <a:ext cx="5391797" cy="584775"/>
          </a:xfrm>
          <a:prstGeom prst="rect">
            <a:avLst/>
          </a:prstGeom>
          <a:solidFill>
            <a:schemeClr val="bg2"/>
          </a:solidFill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hlinkClick r:id="rId3"/>
              </a:rPr>
              <a:t>http://aka.ms/apimroadmap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9179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Func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1" y="2150377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603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-driven/ instant scal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668574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icro-bill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bstraction </a:t>
            </a:r>
            <a:b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of serv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</a:t>
            </a:r>
            <a:r>
              <a:rPr lang="en-US" err="1"/>
              <a:t>Serverless</a:t>
            </a:r>
            <a:r>
              <a:rPr lang="en-US"/>
              <a:t>?</a:t>
            </a:r>
            <a:br>
              <a:rPr lang="en-US"/>
            </a:br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" name="Group 4"/>
            <p:cNvGrpSpPr>
              <a:grpSpLocks noChangeAspect="1"/>
            </p:cNvGrpSpPr>
            <p:nvPr/>
          </p:nvGrpSpPr>
          <p:grpSpPr bwMode="auto">
            <a:xfrm>
              <a:off x="9516647" y="2813805"/>
              <a:ext cx="651814" cy="755044"/>
              <a:chOff x="6136" y="1969"/>
              <a:chExt cx="221" cy="256"/>
            </a:xfrm>
          </p:grpSpPr>
          <p:sp>
            <p:nvSpPr>
              <p:cNvPr id="12" name="Freeform 5"/>
              <p:cNvSpPr>
                <a:spLocks/>
              </p:cNvSpPr>
              <p:nvPr/>
            </p:nvSpPr>
            <p:spPr bwMode="auto">
              <a:xfrm>
                <a:off x="6247" y="2046"/>
                <a:ext cx="42" cy="111"/>
              </a:xfrm>
              <a:custGeom>
                <a:avLst/>
                <a:gdLst>
                  <a:gd name="T0" fmla="*/ 0 w 42"/>
                  <a:gd name="T1" fmla="*/ 0 h 111"/>
                  <a:gd name="T2" fmla="*/ 0 w 42"/>
                  <a:gd name="T3" fmla="*/ 68 h 111"/>
                  <a:gd name="T4" fmla="*/ 42 w 42"/>
                  <a:gd name="T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111">
                    <a:moveTo>
                      <a:pt x="0" y="0"/>
                    </a:moveTo>
                    <a:lnTo>
                      <a:pt x="0" y="68"/>
                    </a:lnTo>
                    <a:lnTo>
                      <a:pt x="42" y="111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" name="Oval 6"/>
              <p:cNvSpPr>
                <a:spLocks noChangeArrowheads="1"/>
              </p:cNvSpPr>
              <p:nvPr/>
            </p:nvSpPr>
            <p:spPr bwMode="auto">
              <a:xfrm>
                <a:off x="6136" y="2003"/>
                <a:ext cx="221" cy="222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" name="Line 7"/>
              <p:cNvSpPr>
                <a:spLocks noChangeShapeType="1"/>
              </p:cNvSpPr>
              <p:nvPr/>
            </p:nvSpPr>
            <p:spPr bwMode="auto">
              <a:xfrm>
                <a:off x="6221" y="1969"/>
                <a:ext cx="51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5" name="Line 8"/>
              <p:cNvSpPr>
                <a:spLocks noChangeShapeType="1"/>
              </p:cNvSpPr>
              <p:nvPr/>
            </p:nvSpPr>
            <p:spPr bwMode="auto">
              <a:xfrm flipV="1">
                <a:off x="6247" y="1969"/>
                <a:ext cx="0" cy="34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" name="Line 9"/>
              <p:cNvSpPr>
                <a:spLocks noChangeShapeType="1"/>
              </p:cNvSpPr>
              <p:nvPr/>
            </p:nvSpPr>
            <p:spPr bwMode="auto">
              <a:xfrm flipH="1">
                <a:off x="6323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" name="Line 10"/>
              <p:cNvSpPr>
                <a:spLocks noChangeShapeType="1"/>
              </p:cNvSpPr>
              <p:nvPr/>
            </p:nvSpPr>
            <p:spPr bwMode="auto">
              <a:xfrm>
                <a:off x="6140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18" name="Oval 17"/>
            <p:cNvSpPr/>
            <p:nvPr/>
          </p:nvSpPr>
          <p:spPr bwMode="auto">
            <a:xfrm>
              <a:off x="9558292" y="3400148"/>
              <a:ext cx="210105" cy="21010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435652" y="3287113"/>
              <a:ext cx="454292" cy="461665"/>
            </a:xfrm>
            <a:prstGeom prst="rect">
              <a:avLst/>
            </a:prstGeom>
            <a:noFill/>
          </p:spPr>
          <p:txBody>
            <a:bodyPr wrap="none" lIns="182854" tIns="146283" rIns="182854" bIns="146283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199">
                  <a:gradFill>
                    <a:gsLst>
                      <a:gs pos="2917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$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899566" y="2925199"/>
              <a:ext cx="712436" cy="614067"/>
              <a:chOff x="6093204" y="2914441"/>
              <a:chExt cx="379412" cy="327025"/>
            </a:xfrm>
            <a:solidFill>
              <a:schemeClr val="bg1"/>
            </a:solidFill>
          </p:grpSpPr>
          <p:sp>
            <p:nvSpPr>
              <p:cNvPr id="24" name="Freeform 14"/>
              <p:cNvSpPr>
                <a:spLocks noEditPoints="1"/>
              </p:cNvSpPr>
              <p:nvPr/>
            </p:nvSpPr>
            <p:spPr bwMode="auto">
              <a:xfrm>
                <a:off x="6093204" y="2914441"/>
                <a:ext cx="379412" cy="327025"/>
              </a:xfrm>
              <a:custGeom>
                <a:avLst/>
                <a:gdLst>
                  <a:gd name="T0" fmla="*/ 222 w 239"/>
                  <a:gd name="T1" fmla="*/ 189 h 206"/>
                  <a:gd name="T2" fmla="*/ 145 w 239"/>
                  <a:gd name="T3" fmla="*/ 189 h 206"/>
                  <a:gd name="T4" fmla="*/ 145 w 239"/>
                  <a:gd name="T5" fmla="*/ 94 h 206"/>
                  <a:gd name="T6" fmla="*/ 17 w 239"/>
                  <a:gd name="T7" fmla="*/ 94 h 206"/>
                  <a:gd name="T8" fmla="*/ 17 w 239"/>
                  <a:gd name="T9" fmla="*/ 17 h 206"/>
                  <a:gd name="T10" fmla="*/ 162 w 239"/>
                  <a:gd name="T11" fmla="*/ 17 h 206"/>
                  <a:gd name="T12" fmla="*/ 162 w 239"/>
                  <a:gd name="T13" fmla="*/ 0 h 206"/>
                  <a:gd name="T14" fmla="*/ 0 w 239"/>
                  <a:gd name="T15" fmla="*/ 0 h 206"/>
                  <a:gd name="T16" fmla="*/ 0 w 239"/>
                  <a:gd name="T17" fmla="*/ 206 h 206"/>
                  <a:gd name="T18" fmla="*/ 239 w 239"/>
                  <a:gd name="T19" fmla="*/ 206 h 206"/>
                  <a:gd name="T20" fmla="*/ 239 w 239"/>
                  <a:gd name="T21" fmla="*/ 77 h 206"/>
                  <a:gd name="T22" fmla="*/ 222 w 239"/>
                  <a:gd name="T23" fmla="*/ 77 h 206"/>
                  <a:gd name="T24" fmla="*/ 222 w 239"/>
                  <a:gd name="T25" fmla="*/ 189 h 206"/>
                  <a:gd name="T26" fmla="*/ 17 w 239"/>
                  <a:gd name="T27" fmla="*/ 112 h 206"/>
                  <a:gd name="T28" fmla="*/ 128 w 239"/>
                  <a:gd name="T29" fmla="*/ 112 h 206"/>
                  <a:gd name="T30" fmla="*/ 128 w 239"/>
                  <a:gd name="T31" fmla="*/ 189 h 206"/>
                  <a:gd name="T32" fmla="*/ 17 w 239"/>
                  <a:gd name="T33" fmla="*/ 189 h 206"/>
                  <a:gd name="T34" fmla="*/ 17 w 239"/>
                  <a:gd name="T35" fmla="*/ 11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9" h="206">
                    <a:moveTo>
                      <a:pt x="222" y="189"/>
                    </a:moveTo>
                    <a:lnTo>
                      <a:pt x="145" y="189"/>
                    </a:lnTo>
                    <a:lnTo>
                      <a:pt x="145" y="94"/>
                    </a:lnTo>
                    <a:lnTo>
                      <a:pt x="17" y="94"/>
                    </a:lnTo>
                    <a:lnTo>
                      <a:pt x="17" y="17"/>
                    </a:lnTo>
                    <a:lnTo>
                      <a:pt x="162" y="17"/>
                    </a:lnTo>
                    <a:lnTo>
                      <a:pt x="162" y="0"/>
                    </a:lnTo>
                    <a:lnTo>
                      <a:pt x="0" y="0"/>
                    </a:lnTo>
                    <a:lnTo>
                      <a:pt x="0" y="206"/>
                    </a:lnTo>
                    <a:lnTo>
                      <a:pt x="239" y="206"/>
                    </a:lnTo>
                    <a:lnTo>
                      <a:pt x="239" y="77"/>
                    </a:lnTo>
                    <a:lnTo>
                      <a:pt x="222" y="77"/>
                    </a:lnTo>
                    <a:lnTo>
                      <a:pt x="222" y="189"/>
                    </a:lnTo>
                    <a:close/>
                    <a:moveTo>
                      <a:pt x="17" y="112"/>
                    </a:moveTo>
                    <a:lnTo>
                      <a:pt x="128" y="112"/>
                    </a:lnTo>
                    <a:lnTo>
                      <a:pt x="128" y="189"/>
                    </a:lnTo>
                    <a:lnTo>
                      <a:pt x="17" y="189"/>
                    </a:lnTo>
                    <a:lnTo>
                      <a:pt x="17" y="112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" name="Freeform 15"/>
              <p:cNvSpPr>
                <a:spLocks/>
              </p:cNvSpPr>
              <p:nvPr/>
            </p:nvSpPr>
            <p:spPr bwMode="auto">
              <a:xfrm>
                <a:off x="6326566" y="2914441"/>
                <a:ext cx="146050" cy="146050"/>
              </a:xfrm>
              <a:custGeom>
                <a:avLst/>
                <a:gdLst>
                  <a:gd name="T0" fmla="*/ 32 w 92"/>
                  <a:gd name="T1" fmla="*/ 17 h 92"/>
                  <a:gd name="T2" fmla="*/ 62 w 92"/>
                  <a:gd name="T3" fmla="*/ 17 h 92"/>
                  <a:gd name="T4" fmla="*/ 0 w 92"/>
                  <a:gd name="T5" fmla="*/ 79 h 92"/>
                  <a:gd name="T6" fmla="*/ 13 w 92"/>
                  <a:gd name="T7" fmla="*/ 92 h 92"/>
                  <a:gd name="T8" fmla="*/ 75 w 92"/>
                  <a:gd name="T9" fmla="*/ 30 h 92"/>
                  <a:gd name="T10" fmla="*/ 75 w 92"/>
                  <a:gd name="T11" fmla="*/ 60 h 92"/>
                  <a:gd name="T12" fmla="*/ 92 w 92"/>
                  <a:gd name="T13" fmla="*/ 60 h 92"/>
                  <a:gd name="T14" fmla="*/ 92 w 92"/>
                  <a:gd name="T15" fmla="*/ 0 h 92"/>
                  <a:gd name="T16" fmla="*/ 32 w 92"/>
                  <a:gd name="T17" fmla="*/ 0 h 92"/>
                  <a:gd name="T18" fmla="*/ 32 w 92"/>
                  <a:gd name="T19" fmla="*/ 17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2">
                    <a:moveTo>
                      <a:pt x="32" y="17"/>
                    </a:moveTo>
                    <a:lnTo>
                      <a:pt x="62" y="17"/>
                    </a:lnTo>
                    <a:lnTo>
                      <a:pt x="0" y="79"/>
                    </a:lnTo>
                    <a:lnTo>
                      <a:pt x="13" y="92"/>
                    </a:lnTo>
                    <a:lnTo>
                      <a:pt x="75" y="30"/>
                    </a:lnTo>
                    <a:lnTo>
                      <a:pt x="75" y="60"/>
                    </a:lnTo>
                    <a:lnTo>
                      <a:pt x="92" y="60"/>
                    </a:lnTo>
                    <a:lnTo>
                      <a:pt x="92" y="0"/>
                    </a:lnTo>
                    <a:lnTo>
                      <a:pt x="32" y="0"/>
                    </a:lnTo>
                    <a:lnTo>
                      <a:pt x="32" y="17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09" name="Group 4"/>
            <p:cNvGrpSpPr>
              <a:grpSpLocks noChangeAspect="1"/>
            </p:cNvGrpSpPr>
            <p:nvPr/>
          </p:nvGrpSpPr>
          <p:grpSpPr bwMode="auto">
            <a:xfrm>
              <a:off x="2340343" y="2748281"/>
              <a:ext cx="562401" cy="902183"/>
              <a:chOff x="6" y="12"/>
              <a:chExt cx="192" cy="308"/>
            </a:xfrm>
          </p:grpSpPr>
          <p:sp>
            <p:nvSpPr>
              <p:cNvPr id="210" name="Rectangle 209"/>
              <p:cNvSpPr>
                <a:spLocks noChangeArrowheads="1"/>
              </p:cNvSpPr>
              <p:nvPr/>
            </p:nvSpPr>
            <p:spPr bwMode="auto">
              <a:xfrm>
                <a:off x="28" y="12"/>
                <a:ext cx="170" cy="308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1" name="Rectangle 210"/>
              <p:cNvSpPr>
                <a:spLocks noChangeArrowheads="1"/>
              </p:cNvSpPr>
              <p:nvPr/>
            </p:nvSpPr>
            <p:spPr bwMode="auto">
              <a:xfrm>
                <a:off x="53" y="35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2" name="Rectangle 211"/>
              <p:cNvSpPr>
                <a:spLocks noChangeArrowheads="1"/>
              </p:cNvSpPr>
              <p:nvPr/>
            </p:nvSpPr>
            <p:spPr bwMode="auto">
              <a:xfrm>
                <a:off x="53" y="100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3" name="Rectangle 212"/>
              <p:cNvSpPr>
                <a:spLocks noChangeArrowheads="1"/>
              </p:cNvSpPr>
              <p:nvPr/>
            </p:nvSpPr>
            <p:spPr bwMode="auto">
              <a:xfrm>
                <a:off x="53" y="166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4" name="Freeform 9"/>
              <p:cNvSpPr>
                <a:spLocks/>
              </p:cNvSpPr>
              <p:nvPr/>
            </p:nvSpPr>
            <p:spPr bwMode="auto">
              <a:xfrm>
                <a:off x="6" y="50"/>
                <a:ext cx="22" cy="55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5" name="Freeform 10"/>
              <p:cNvSpPr>
                <a:spLocks/>
              </p:cNvSpPr>
              <p:nvPr/>
            </p:nvSpPr>
            <p:spPr bwMode="auto">
              <a:xfrm>
                <a:off x="6" y="162"/>
                <a:ext cx="22" cy="53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6" name="Oval 215"/>
              <p:cNvSpPr>
                <a:spLocks noChangeArrowheads="1"/>
              </p:cNvSpPr>
              <p:nvPr/>
            </p:nvSpPr>
            <p:spPr bwMode="auto">
              <a:xfrm>
                <a:off x="53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7" name="Oval 216"/>
              <p:cNvSpPr>
                <a:spLocks noChangeArrowheads="1"/>
              </p:cNvSpPr>
              <p:nvPr/>
            </p:nvSpPr>
            <p:spPr bwMode="auto">
              <a:xfrm>
                <a:off x="100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8" name="Rectangle 217"/>
              <p:cNvSpPr>
                <a:spLocks noChangeArrowheads="1"/>
              </p:cNvSpPr>
              <p:nvPr/>
            </p:nvSpPr>
            <p:spPr bwMode="auto">
              <a:xfrm>
                <a:off x="149" y="263"/>
                <a:ext cx="24" cy="24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 bwMode="auto">
            <a:xfrm>
              <a:off x="2540162" y="272256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 bwMode="auto">
            <a:xfrm>
              <a:off x="2720322" y="27184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0" name="Rectangle 219"/>
            <p:cNvSpPr/>
            <p:nvPr/>
          </p:nvSpPr>
          <p:spPr bwMode="auto">
            <a:xfrm>
              <a:off x="2797315" y="27160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1" name="Rectangle 220"/>
            <p:cNvSpPr/>
            <p:nvPr/>
          </p:nvSpPr>
          <p:spPr bwMode="auto">
            <a:xfrm>
              <a:off x="2865967" y="271971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2" name="Rectangle 221"/>
            <p:cNvSpPr/>
            <p:nvPr/>
          </p:nvSpPr>
          <p:spPr bwMode="auto">
            <a:xfrm>
              <a:off x="2791040" y="279301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3" name="Rectangle 222"/>
            <p:cNvSpPr/>
            <p:nvPr/>
          </p:nvSpPr>
          <p:spPr bwMode="auto">
            <a:xfrm>
              <a:off x="2717221" y="278110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4" name="Rectangle 223"/>
            <p:cNvSpPr/>
            <p:nvPr/>
          </p:nvSpPr>
          <p:spPr bwMode="auto">
            <a:xfrm>
              <a:off x="2793421" y="2859589"/>
              <a:ext cx="57247" cy="72434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5" name="Rectangle 224"/>
            <p:cNvSpPr/>
            <p:nvPr/>
          </p:nvSpPr>
          <p:spPr bwMode="auto">
            <a:xfrm>
              <a:off x="2628239" y="271549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>
              <a:off x="2878277" y="27922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/>
            <p:cNvSpPr/>
            <p:nvPr/>
          </p:nvSpPr>
          <p:spPr bwMode="auto">
            <a:xfrm>
              <a:off x="2877485" y="28708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/>
            <p:cNvSpPr/>
            <p:nvPr/>
          </p:nvSpPr>
          <p:spPr bwMode="auto">
            <a:xfrm>
              <a:off x="2873508" y="295600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/>
            <p:cNvSpPr/>
            <p:nvPr/>
          </p:nvSpPr>
          <p:spPr bwMode="auto">
            <a:xfrm>
              <a:off x="2873508" y="304898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/>
            <p:cNvSpPr/>
            <p:nvPr/>
          </p:nvSpPr>
          <p:spPr bwMode="auto">
            <a:xfrm>
              <a:off x="2715944" y="288197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/>
            <p:cNvSpPr/>
            <p:nvPr/>
          </p:nvSpPr>
          <p:spPr bwMode="auto">
            <a:xfrm>
              <a:off x="2753880" y="298133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/>
            <p:cNvSpPr/>
            <p:nvPr/>
          </p:nvSpPr>
          <p:spPr bwMode="auto">
            <a:xfrm>
              <a:off x="2796117" y="301631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Rectangle 233"/>
            <p:cNvSpPr/>
            <p:nvPr/>
          </p:nvSpPr>
          <p:spPr bwMode="auto">
            <a:xfrm>
              <a:off x="2678699" y="298035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5" name="Rectangle 234"/>
            <p:cNvSpPr/>
            <p:nvPr/>
          </p:nvSpPr>
          <p:spPr bwMode="auto">
            <a:xfrm>
              <a:off x="2628238" y="277558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6" name="Rectangle 235"/>
            <p:cNvSpPr/>
            <p:nvPr/>
          </p:nvSpPr>
          <p:spPr bwMode="auto">
            <a:xfrm>
              <a:off x="2633652" y="2889549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15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business logic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aster time to market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Reduced DevOp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s of </a:t>
            </a:r>
            <a:r>
              <a:rPr lang="en-US" err="1"/>
              <a:t>Serverless</a:t>
            </a:r>
            <a:br>
              <a:rPr lang="en-US"/>
            </a:br>
            <a:endParaRPr lang="en-US"/>
          </a:p>
        </p:txBody>
      </p:sp>
      <p:grpSp>
        <p:nvGrpSpPr>
          <p:cNvPr id="237" name="Group 236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" name="Group 4"/>
            <p:cNvGrpSpPr>
              <a:grpSpLocks noChangeAspect="1"/>
            </p:cNvGrpSpPr>
            <p:nvPr/>
          </p:nvGrpSpPr>
          <p:grpSpPr bwMode="auto">
            <a:xfrm>
              <a:off x="2084315" y="2864915"/>
              <a:ext cx="1119410" cy="646770"/>
              <a:chOff x="12" y="8"/>
              <a:chExt cx="270" cy="156"/>
            </a:xfrm>
          </p:grpSpPr>
          <p:sp>
            <p:nvSpPr>
              <p:cNvPr id="6" name="Oval 5"/>
              <p:cNvSpPr>
                <a:spLocks noChangeArrowheads="1"/>
              </p:cNvSpPr>
              <p:nvPr/>
            </p:nvSpPr>
            <p:spPr bwMode="auto">
              <a:xfrm>
                <a:off x="31" y="8"/>
                <a:ext cx="89" cy="91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12" y="99"/>
                <a:ext cx="124" cy="65"/>
              </a:xfrm>
              <a:custGeom>
                <a:avLst/>
                <a:gdLst>
                  <a:gd name="T0" fmla="*/ 59 w 59"/>
                  <a:gd name="T1" fmla="*/ 30 h 30"/>
                  <a:gd name="T2" fmla="*/ 30 w 59"/>
                  <a:gd name="T3" fmla="*/ 0 h 30"/>
                  <a:gd name="T4" fmla="*/ 0 w 59"/>
                  <a:gd name="T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30">
                    <a:moveTo>
                      <a:pt x="59" y="30"/>
                    </a:moveTo>
                    <a:cubicBezTo>
                      <a:pt x="59" y="13"/>
                      <a:pt x="46" y="0"/>
                      <a:pt x="30" y="0"/>
                    </a:cubicBezTo>
                    <a:cubicBezTo>
                      <a:pt x="13" y="0"/>
                      <a:pt x="0" y="13"/>
                      <a:pt x="0" y="3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113" y="30"/>
                <a:ext cx="125" cy="93"/>
              </a:xfrm>
              <a:custGeom>
                <a:avLst/>
                <a:gdLst>
                  <a:gd name="T0" fmla="*/ 11 w 125"/>
                  <a:gd name="T1" fmla="*/ 93 h 93"/>
                  <a:gd name="T2" fmla="*/ 125 w 125"/>
                  <a:gd name="T3" fmla="*/ 93 h 93"/>
                  <a:gd name="T4" fmla="*/ 125 w 125"/>
                  <a:gd name="T5" fmla="*/ 0 h 93"/>
                  <a:gd name="T6" fmla="*/ 0 w 125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5" h="93">
                    <a:moveTo>
                      <a:pt x="11" y="93"/>
                    </a:moveTo>
                    <a:lnTo>
                      <a:pt x="125" y="93"/>
                    </a:lnTo>
                    <a:lnTo>
                      <a:pt x="125" y="0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" name="Line 8"/>
              <p:cNvSpPr>
                <a:spLocks noChangeShapeType="1"/>
              </p:cNvSpPr>
              <p:nvPr/>
            </p:nvSpPr>
            <p:spPr bwMode="auto">
              <a:xfrm flipV="1">
                <a:off x="170" y="123"/>
                <a:ext cx="0" cy="32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" name="Freeform 9"/>
              <p:cNvSpPr>
                <a:spLocks/>
              </p:cNvSpPr>
              <p:nvPr/>
            </p:nvSpPr>
            <p:spPr bwMode="auto">
              <a:xfrm>
                <a:off x="223" y="47"/>
                <a:ext cx="59" cy="108"/>
              </a:xfrm>
              <a:custGeom>
                <a:avLst/>
                <a:gdLst>
                  <a:gd name="T0" fmla="*/ 15 w 59"/>
                  <a:gd name="T1" fmla="*/ 0 h 108"/>
                  <a:gd name="T2" fmla="*/ 59 w 59"/>
                  <a:gd name="T3" fmla="*/ 0 h 108"/>
                  <a:gd name="T4" fmla="*/ 59 w 59"/>
                  <a:gd name="T5" fmla="*/ 108 h 108"/>
                  <a:gd name="T6" fmla="*/ 0 w 59"/>
                  <a:gd name="T7" fmla="*/ 108 h 108"/>
                  <a:gd name="T8" fmla="*/ 0 w 59"/>
                  <a:gd name="T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08">
                    <a:moveTo>
                      <a:pt x="15" y="0"/>
                    </a:moveTo>
                    <a:lnTo>
                      <a:pt x="59" y="0"/>
                    </a:lnTo>
                    <a:lnTo>
                      <a:pt x="59" y="108"/>
                    </a:lnTo>
                    <a:lnTo>
                      <a:pt x="0" y="108"/>
                    </a:lnTo>
                    <a:lnTo>
                      <a:pt x="0" y="76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" name="Line 10"/>
              <p:cNvSpPr>
                <a:spLocks noChangeShapeType="1"/>
              </p:cNvSpPr>
              <p:nvPr/>
            </p:nvSpPr>
            <p:spPr bwMode="auto">
              <a:xfrm flipH="1">
                <a:off x="130" y="155"/>
                <a:ext cx="68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3" name="Line 11"/>
              <p:cNvSpPr>
                <a:spLocks noChangeShapeType="1"/>
              </p:cNvSpPr>
              <p:nvPr/>
            </p:nvSpPr>
            <p:spPr bwMode="auto">
              <a:xfrm flipH="1">
                <a:off x="238" y="82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 flipH="1">
                <a:off x="238" y="110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1" name="Line 13"/>
              <p:cNvSpPr>
                <a:spLocks noChangeShapeType="1"/>
              </p:cNvSpPr>
              <p:nvPr/>
            </p:nvSpPr>
            <p:spPr bwMode="auto">
              <a:xfrm>
                <a:off x="145" y="58"/>
                <a:ext cx="19" cy="37"/>
              </a:xfrm>
              <a:prstGeom prst="line">
                <a:avLst/>
              </a:pr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6" name="Freeform 14"/>
              <p:cNvSpPr>
                <a:spLocks/>
              </p:cNvSpPr>
              <p:nvPr/>
            </p:nvSpPr>
            <p:spPr bwMode="auto">
              <a:xfrm>
                <a:off x="183" y="54"/>
                <a:ext cx="19" cy="41"/>
              </a:xfrm>
              <a:custGeom>
                <a:avLst/>
                <a:gdLst>
                  <a:gd name="T0" fmla="*/ 0 w 19"/>
                  <a:gd name="T1" fmla="*/ 0 h 41"/>
                  <a:gd name="T2" fmla="*/ 19 w 19"/>
                  <a:gd name="T3" fmla="*/ 21 h 41"/>
                  <a:gd name="T4" fmla="*/ 0 w 19"/>
                  <a:gd name="T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41">
                    <a:moveTo>
                      <a:pt x="0" y="0"/>
                    </a:moveTo>
                    <a:lnTo>
                      <a:pt x="19" y="21"/>
                    </a:lnTo>
                    <a:lnTo>
                      <a:pt x="0" y="41"/>
                    </a:lnTo>
                  </a:path>
                </a:pathLst>
              </a:cu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250" name="Group 249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40" name="Group 17"/>
            <p:cNvGrpSpPr>
              <a:grpSpLocks noChangeAspect="1"/>
            </p:cNvGrpSpPr>
            <p:nvPr/>
          </p:nvGrpSpPr>
          <p:grpSpPr bwMode="auto">
            <a:xfrm>
              <a:off x="5954114" y="2865066"/>
              <a:ext cx="646697" cy="749504"/>
              <a:chOff x="9" y="9"/>
              <a:chExt cx="195" cy="226"/>
            </a:xfrm>
          </p:grpSpPr>
          <p:sp>
            <p:nvSpPr>
              <p:cNvPr id="242" name="Freeform 18"/>
              <p:cNvSpPr>
                <a:spLocks/>
              </p:cNvSpPr>
              <p:nvPr/>
            </p:nvSpPr>
            <p:spPr bwMode="auto">
              <a:xfrm>
                <a:off x="9" y="204"/>
                <a:ext cx="195" cy="31"/>
              </a:xfrm>
              <a:custGeom>
                <a:avLst/>
                <a:gdLst>
                  <a:gd name="T0" fmla="*/ 0 w 91"/>
                  <a:gd name="T1" fmla="*/ 0 h 15"/>
                  <a:gd name="T2" fmla="*/ 16 w 91"/>
                  <a:gd name="T3" fmla="*/ 15 h 15"/>
                  <a:gd name="T4" fmla="*/ 31 w 91"/>
                  <a:gd name="T5" fmla="*/ 0 h 15"/>
                  <a:gd name="T6" fmla="*/ 91 w 91"/>
                  <a:gd name="T7" fmla="*/ 0 h 15"/>
                  <a:gd name="T8" fmla="*/ 75 w 91"/>
                  <a:gd name="T9" fmla="*/ 15 h 15"/>
                  <a:gd name="T10" fmla="*/ 16 w 91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15">
                    <a:moveTo>
                      <a:pt x="0" y="0"/>
                    </a:moveTo>
                    <a:cubicBezTo>
                      <a:pt x="0" y="8"/>
                      <a:pt x="7" y="15"/>
                      <a:pt x="16" y="15"/>
                    </a:cubicBezTo>
                    <a:cubicBezTo>
                      <a:pt x="24" y="15"/>
                      <a:pt x="31" y="8"/>
                      <a:pt x="3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8"/>
                      <a:pt x="84" y="15"/>
                      <a:pt x="75" y="15"/>
                    </a:cubicBezTo>
                    <a:cubicBezTo>
                      <a:pt x="16" y="15"/>
                      <a:pt x="16" y="15"/>
                      <a:pt x="16" y="15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3" name="Freeform 19"/>
              <p:cNvSpPr>
                <a:spLocks/>
              </p:cNvSpPr>
              <p:nvPr/>
            </p:nvSpPr>
            <p:spPr bwMode="auto">
              <a:xfrm>
                <a:off x="9" y="9"/>
                <a:ext cx="172" cy="197"/>
              </a:xfrm>
              <a:custGeom>
                <a:avLst/>
                <a:gdLst>
                  <a:gd name="T0" fmla="*/ 0 w 172"/>
                  <a:gd name="T1" fmla="*/ 197 h 197"/>
                  <a:gd name="T2" fmla="*/ 0 w 172"/>
                  <a:gd name="T3" fmla="*/ 0 h 197"/>
                  <a:gd name="T4" fmla="*/ 172 w 172"/>
                  <a:gd name="T5" fmla="*/ 0 h 197"/>
                  <a:gd name="T6" fmla="*/ 172 w 172"/>
                  <a:gd name="T7" fmla="*/ 19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2" h="197">
                    <a:moveTo>
                      <a:pt x="0" y="197"/>
                    </a:moveTo>
                    <a:lnTo>
                      <a:pt x="0" y="0"/>
                    </a:lnTo>
                    <a:lnTo>
                      <a:pt x="172" y="0"/>
                    </a:lnTo>
                    <a:lnTo>
                      <a:pt x="172" y="195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4" name="Line 20"/>
              <p:cNvSpPr>
                <a:spLocks noChangeShapeType="1"/>
              </p:cNvSpPr>
              <p:nvPr/>
            </p:nvSpPr>
            <p:spPr bwMode="auto">
              <a:xfrm>
                <a:off x="78" y="58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5" name="Line 21"/>
              <p:cNvSpPr>
                <a:spLocks noChangeShapeType="1"/>
              </p:cNvSpPr>
              <p:nvPr/>
            </p:nvSpPr>
            <p:spPr bwMode="auto">
              <a:xfrm>
                <a:off x="78" y="105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6" name="Line 22"/>
              <p:cNvSpPr>
                <a:spLocks noChangeShapeType="1"/>
              </p:cNvSpPr>
              <p:nvPr/>
            </p:nvSpPr>
            <p:spPr bwMode="auto">
              <a:xfrm>
                <a:off x="78" y="154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7" name="Line 23"/>
              <p:cNvSpPr>
                <a:spLocks noChangeShapeType="1"/>
              </p:cNvSpPr>
              <p:nvPr/>
            </p:nvSpPr>
            <p:spPr bwMode="auto">
              <a:xfrm>
                <a:off x="44" y="58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8" name="Line 24"/>
              <p:cNvSpPr>
                <a:spLocks noChangeShapeType="1"/>
              </p:cNvSpPr>
              <p:nvPr/>
            </p:nvSpPr>
            <p:spPr bwMode="auto">
              <a:xfrm>
                <a:off x="44" y="105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9" name="Line 25"/>
              <p:cNvSpPr>
                <a:spLocks noChangeShapeType="1"/>
              </p:cNvSpPr>
              <p:nvPr/>
            </p:nvSpPr>
            <p:spPr bwMode="auto">
              <a:xfrm>
                <a:off x="44" y="154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52" name="Group 28"/>
            <p:cNvGrpSpPr>
              <a:grpSpLocks noChangeAspect="1"/>
            </p:cNvGrpSpPr>
            <p:nvPr/>
          </p:nvGrpSpPr>
          <p:grpSpPr bwMode="auto">
            <a:xfrm>
              <a:off x="9491591" y="2863270"/>
              <a:ext cx="684072" cy="686754"/>
              <a:chOff x="8" y="7"/>
              <a:chExt cx="255" cy="256"/>
            </a:xfrm>
          </p:grpSpPr>
          <p:sp>
            <p:nvSpPr>
              <p:cNvPr id="254" name="Freeform 29"/>
              <p:cNvSpPr>
                <a:spLocks/>
              </p:cNvSpPr>
              <p:nvPr/>
            </p:nvSpPr>
            <p:spPr bwMode="auto">
              <a:xfrm>
                <a:off x="8" y="7"/>
                <a:ext cx="255" cy="256"/>
              </a:xfrm>
              <a:custGeom>
                <a:avLst/>
                <a:gdLst>
                  <a:gd name="T0" fmla="*/ 4 w 120"/>
                  <a:gd name="T1" fmla="*/ 38 h 120"/>
                  <a:gd name="T2" fmla="*/ 5 w 120"/>
                  <a:gd name="T3" fmla="*/ 36 h 120"/>
                  <a:gd name="T4" fmla="*/ 9 w 120"/>
                  <a:gd name="T5" fmla="*/ 28 h 120"/>
                  <a:gd name="T6" fmla="*/ 60 w 120"/>
                  <a:gd name="T7" fmla="*/ 0 h 120"/>
                  <a:gd name="T8" fmla="*/ 120 w 120"/>
                  <a:gd name="T9" fmla="*/ 60 h 120"/>
                  <a:gd name="T10" fmla="*/ 60 w 120"/>
                  <a:gd name="T11" fmla="*/ 120 h 120"/>
                  <a:gd name="T12" fmla="*/ 0 w 120"/>
                  <a:gd name="T13" fmla="*/ 6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20">
                    <a:moveTo>
                      <a:pt x="4" y="38"/>
                    </a:moveTo>
                    <a:cubicBezTo>
                      <a:pt x="4" y="38"/>
                      <a:pt x="5" y="37"/>
                      <a:pt x="5" y="36"/>
                    </a:cubicBezTo>
                    <a:cubicBezTo>
                      <a:pt x="6" y="33"/>
                      <a:pt x="8" y="31"/>
                      <a:pt x="9" y="28"/>
                    </a:cubicBezTo>
                    <a:cubicBezTo>
                      <a:pt x="20" y="11"/>
                      <a:pt x="39" y="0"/>
                      <a:pt x="60" y="0"/>
                    </a:cubicBezTo>
                    <a:cubicBezTo>
                      <a:pt x="93" y="0"/>
                      <a:pt x="120" y="27"/>
                      <a:pt x="120" y="60"/>
                    </a:cubicBezTo>
                    <a:cubicBezTo>
                      <a:pt x="120" y="93"/>
                      <a:pt x="93" y="120"/>
                      <a:pt x="60" y="120"/>
                    </a:cubicBezTo>
                    <a:cubicBezTo>
                      <a:pt x="27" y="120"/>
                      <a:pt x="0" y="93"/>
                      <a:pt x="0" y="6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5" name="Freeform 30"/>
              <p:cNvSpPr>
                <a:spLocks/>
              </p:cNvSpPr>
              <p:nvPr/>
            </p:nvSpPr>
            <p:spPr bwMode="auto">
              <a:xfrm>
                <a:off x="136" y="67"/>
                <a:ext cx="48" cy="117"/>
              </a:xfrm>
              <a:custGeom>
                <a:avLst/>
                <a:gdLst>
                  <a:gd name="T0" fmla="*/ 0 w 48"/>
                  <a:gd name="T1" fmla="*/ 0 h 117"/>
                  <a:gd name="T2" fmla="*/ 0 w 48"/>
                  <a:gd name="T3" fmla="*/ 68 h 117"/>
                  <a:gd name="T4" fmla="*/ 48 w 48"/>
                  <a:gd name="T5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17">
                    <a:moveTo>
                      <a:pt x="0" y="0"/>
                    </a:moveTo>
                    <a:lnTo>
                      <a:pt x="0" y="68"/>
                    </a:lnTo>
                    <a:lnTo>
                      <a:pt x="48" y="117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8" y="33"/>
                <a:ext cx="60" cy="59"/>
              </a:xfrm>
              <a:custGeom>
                <a:avLst/>
                <a:gdLst>
                  <a:gd name="T0" fmla="*/ 60 w 60"/>
                  <a:gd name="T1" fmla="*/ 59 h 59"/>
                  <a:gd name="T2" fmla="*/ 0 w 60"/>
                  <a:gd name="T3" fmla="*/ 59 h 59"/>
                  <a:gd name="T4" fmla="*/ 0 w 60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9">
                    <a:moveTo>
                      <a:pt x="60" y="59"/>
                    </a:moveTo>
                    <a:lnTo>
                      <a:pt x="0" y="59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05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905E-6 -4.90241E-7 L -1.5905E-6 -0.05447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05157E-6 -4.90241E-7 L 4.05157E-6 -0.05447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00664E-6 -4.90241E-7 L -2.00664E-6 -0.05447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5482" y="295733"/>
            <a:ext cx="11887878" cy="917444"/>
          </a:xfrm>
        </p:spPr>
        <p:txBody>
          <a:bodyPr/>
          <a:lstStyle/>
          <a:p>
            <a:r>
              <a:rPr lang="en-US" dirty="0"/>
              <a:t>Serverless application platform component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65758" y="1582329"/>
            <a:ext cx="2639424" cy="4789034"/>
            <a:chOff x="455802" y="1551444"/>
            <a:chExt cx="2587906" cy="4695558"/>
          </a:xfrm>
        </p:grpSpPr>
        <p:sp>
          <p:nvSpPr>
            <p:cNvPr id="123" name="Rectangle 122"/>
            <p:cNvSpPr/>
            <p:nvPr/>
          </p:nvSpPr>
          <p:spPr bwMode="auto">
            <a:xfrm>
              <a:off x="455802" y="1551444"/>
              <a:ext cx="2587906" cy="469555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Development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87547" y="4314459"/>
              <a:ext cx="2321740" cy="815747"/>
              <a:chOff x="599328" y="4242936"/>
              <a:chExt cx="2368296" cy="832104"/>
            </a:xfrm>
          </p:grpSpPr>
          <p:sp>
            <p:nvSpPr>
              <p:cNvPr id="106" name="Rectangle 105"/>
              <p:cNvSpPr/>
              <p:nvPr/>
            </p:nvSpPr>
            <p:spPr bwMode="auto">
              <a:xfrm>
                <a:off x="599328" y="4242936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Local development</a:t>
                </a:r>
              </a:p>
            </p:txBody>
          </p:sp>
          <p:sp>
            <p:nvSpPr>
              <p:cNvPr id="67" name="Freeform 33"/>
              <p:cNvSpPr>
                <a:spLocks noEditPoints="1"/>
              </p:cNvSpPr>
              <p:nvPr/>
            </p:nvSpPr>
            <p:spPr bwMode="auto">
              <a:xfrm>
                <a:off x="788810" y="4471484"/>
                <a:ext cx="455272" cy="410558"/>
              </a:xfrm>
              <a:custGeom>
                <a:avLst/>
                <a:gdLst>
                  <a:gd name="T0" fmla="*/ 110 w 236"/>
                  <a:gd name="T1" fmla="*/ 0 h 204"/>
                  <a:gd name="T2" fmla="*/ 110 w 236"/>
                  <a:gd name="T3" fmla="*/ 51 h 204"/>
                  <a:gd name="T4" fmla="*/ 0 w 236"/>
                  <a:gd name="T5" fmla="*/ 51 h 204"/>
                  <a:gd name="T6" fmla="*/ 0 w 236"/>
                  <a:gd name="T7" fmla="*/ 60 h 204"/>
                  <a:gd name="T8" fmla="*/ 0 w 236"/>
                  <a:gd name="T9" fmla="*/ 170 h 204"/>
                  <a:gd name="T10" fmla="*/ 84 w 236"/>
                  <a:gd name="T11" fmla="*/ 170 h 204"/>
                  <a:gd name="T12" fmla="*/ 84 w 236"/>
                  <a:gd name="T13" fmla="*/ 187 h 204"/>
                  <a:gd name="T14" fmla="*/ 51 w 236"/>
                  <a:gd name="T15" fmla="*/ 187 h 204"/>
                  <a:gd name="T16" fmla="*/ 51 w 236"/>
                  <a:gd name="T17" fmla="*/ 204 h 204"/>
                  <a:gd name="T18" fmla="*/ 236 w 236"/>
                  <a:gd name="T19" fmla="*/ 204 h 204"/>
                  <a:gd name="T20" fmla="*/ 236 w 236"/>
                  <a:gd name="T21" fmla="*/ 0 h 204"/>
                  <a:gd name="T22" fmla="*/ 110 w 236"/>
                  <a:gd name="T23" fmla="*/ 0 h 204"/>
                  <a:gd name="T24" fmla="*/ 126 w 236"/>
                  <a:gd name="T25" fmla="*/ 17 h 204"/>
                  <a:gd name="T26" fmla="*/ 219 w 236"/>
                  <a:gd name="T27" fmla="*/ 17 h 204"/>
                  <a:gd name="T28" fmla="*/ 219 w 236"/>
                  <a:gd name="T29" fmla="*/ 68 h 204"/>
                  <a:gd name="T30" fmla="*/ 177 w 236"/>
                  <a:gd name="T31" fmla="*/ 68 h 204"/>
                  <a:gd name="T32" fmla="*/ 177 w 236"/>
                  <a:gd name="T33" fmla="*/ 51 h 204"/>
                  <a:gd name="T34" fmla="*/ 126 w 236"/>
                  <a:gd name="T35" fmla="*/ 51 h 204"/>
                  <a:gd name="T36" fmla="*/ 126 w 236"/>
                  <a:gd name="T37" fmla="*/ 17 h 204"/>
                  <a:gd name="T38" fmla="*/ 177 w 236"/>
                  <a:gd name="T39" fmla="*/ 85 h 204"/>
                  <a:gd name="T40" fmla="*/ 219 w 236"/>
                  <a:gd name="T41" fmla="*/ 85 h 204"/>
                  <a:gd name="T42" fmla="*/ 219 w 236"/>
                  <a:gd name="T43" fmla="*/ 119 h 204"/>
                  <a:gd name="T44" fmla="*/ 177 w 236"/>
                  <a:gd name="T45" fmla="*/ 119 h 204"/>
                  <a:gd name="T46" fmla="*/ 177 w 236"/>
                  <a:gd name="T47" fmla="*/ 85 h 204"/>
                  <a:gd name="T48" fmla="*/ 17 w 236"/>
                  <a:gd name="T49" fmla="*/ 68 h 204"/>
                  <a:gd name="T50" fmla="*/ 160 w 236"/>
                  <a:gd name="T51" fmla="*/ 68 h 204"/>
                  <a:gd name="T52" fmla="*/ 160 w 236"/>
                  <a:gd name="T53" fmla="*/ 153 h 204"/>
                  <a:gd name="T54" fmla="*/ 17 w 236"/>
                  <a:gd name="T55" fmla="*/ 153 h 204"/>
                  <a:gd name="T56" fmla="*/ 17 w 236"/>
                  <a:gd name="T57" fmla="*/ 68 h 204"/>
                  <a:gd name="T58" fmla="*/ 101 w 236"/>
                  <a:gd name="T59" fmla="*/ 187 h 204"/>
                  <a:gd name="T60" fmla="*/ 101 w 236"/>
                  <a:gd name="T61" fmla="*/ 170 h 204"/>
                  <a:gd name="T62" fmla="*/ 177 w 236"/>
                  <a:gd name="T63" fmla="*/ 170 h 204"/>
                  <a:gd name="T64" fmla="*/ 177 w 236"/>
                  <a:gd name="T65" fmla="*/ 136 h 204"/>
                  <a:gd name="T66" fmla="*/ 219 w 236"/>
                  <a:gd name="T67" fmla="*/ 136 h 204"/>
                  <a:gd name="T68" fmla="*/ 219 w 236"/>
                  <a:gd name="T69" fmla="*/ 187 h 204"/>
                  <a:gd name="T70" fmla="*/ 101 w 236"/>
                  <a:gd name="T71" fmla="*/ 187 h 204"/>
                  <a:gd name="T72" fmla="*/ 202 w 236"/>
                  <a:gd name="T73" fmla="*/ 51 h 204"/>
                  <a:gd name="T74" fmla="*/ 185 w 236"/>
                  <a:gd name="T75" fmla="*/ 51 h 204"/>
                  <a:gd name="T76" fmla="*/ 185 w 236"/>
                  <a:gd name="T77" fmla="*/ 34 h 204"/>
                  <a:gd name="T78" fmla="*/ 202 w 236"/>
                  <a:gd name="T79" fmla="*/ 34 h 204"/>
                  <a:gd name="T80" fmla="*/ 202 w 236"/>
                  <a:gd name="T81" fmla="*/ 51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6" h="204">
                    <a:moveTo>
                      <a:pt x="110" y="0"/>
                    </a:moveTo>
                    <a:lnTo>
                      <a:pt x="110" y="51"/>
                    </a:lnTo>
                    <a:lnTo>
                      <a:pt x="0" y="51"/>
                    </a:lnTo>
                    <a:lnTo>
                      <a:pt x="0" y="60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84" y="187"/>
                    </a:lnTo>
                    <a:lnTo>
                      <a:pt x="51" y="187"/>
                    </a:lnTo>
                    <a:lnTo>
                      <a:pt x="51" y="204"/>
                    </a:lnTo>
                    <a:lnTo>
                      <a:pt x="236" y="204"/>
                    </a:lnTo>
                    <a:lnTo>
                      <a:pt x="236" y="0"/>
                    </a:lnTo>
                    <a:lnTo>
                      <a:pt x="110" y="0"/>
                    </a:lnTo>
                    <a:close/>
                    <a:moveTo>
                      <a:pt x="126" y="17"/>
                    </a:moveTo>
                    <a:lnTo>
                      <a:pt x="219" y="17"/>
                    </a:lnTo>
                    <a:lnTo>
                      <a:pt x="219" y="68"/>
                    </a:lnTo>
                    <a:lnTo>
                      <a:pt x="177" y="68"/>
                    </a:lnTo>
                    <a:lnTo>
                      <a:pt x="177" y="51"/>
                    </a:lnTo>
                    <a:lnTo>
                      <a:pt x="126" y="51"/>
                    </a:lnTo>
                    <a:lnTo>
                      <a:pt x="126" y="17"/>
                    </a:lnTo>
                    <a:close/>
                    <a:moveTo>
                      <a:pt x="177" y="85"/>
                    </a:moveTo>
                    <a:lnTo>
                      <a:pt x="219" y="85"/>
                    </a:lnTo>
                    <a:lnTo>
                      <a:pt x="219" y="119"/>
                    </a:lnTo>
                    <a:lnTo>
                      <a:pt x="177" y="119"/>
                    </a:lnTo>
                    <a:lnTo>
                      <a:pt x="177" y="85"/>
                    </a:lnTo>
                    <a:close/>
                    <a:moveTo>
                      <a:pt x="17" y="68"/>
                    </a:moveTo>
                    <a:lnTo>
                      <a:pt x="160" y="68"/>
                    </a:lnTo>
                    <a:lnTo>
                      <a:pt x="160" y="153"/>
                    </a:lnTo>
                    <a:lnTo>
                      <a:pt x="17" y="153"/>
                    </a:lnTo>
                    <a:lnTo>
                      <a:pt x="17" y="68"/>
                    </a:lnTo>
                    <a:close/>
                    <a:moveTo>
                      <a:pt x="101" y="187"/>
                    </a:moveTo>
                    <a:lnTo>
                      <a:pt x="101" y="170"/>
                    </a:lnTo>
                    <a:lnTo>
                      <a:pt x="177" y="170"/>
                    </a:lnTo>
                    <a:lnTo>
                      <a:pt x="177" y="136"/>
                    </a:lnTo>
                    <a:lnTo>
                      <a:pt x="219" y="136"/>
                    </a:lnTo>
                    <a:lnTo>
                      <a:pt x="219" y="187"/>
                    </a:lnTo>
                    <a:lnTo>
                      <a:pt x="101" y="187"/>
                    </a:lnTo>
                    <a:close/>
                    <a:moveTo>
                      <a:pt x="202" y="51"/>
                    </a:moveTo>
                    <a:lnTo>
                      <a:pt x="185" y="51"/>
                    </a:lnTo>
                    <a:lnTo>
                      <a:pt x="185" y="34"/>
                    </a:lnTo>
                    <a:lnTo>
                      <a:pt x="202" y="34"/>
                    </a:lnTo>
                    <a:lnTo>
                      <a:pt x="202" y="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587547" y="3326391"/>
              <a:ext cx="2321740" cy="815747"/>
              <a:chOff x="599328" y="3045311"/>
              <a:chExt cx="2368296" cy="832104"/>
            </a:xfrm>
          </p:grpSpPr>
          <p:sp>
            <p:nvSpPr>
              <p:cNvPr id="107" name="Rectangle 106"/>
              <p:cNvSpPr/>
              <p:nvPr/>
            </p:nvSpPr>
            <p:spPr bwMode="auto">
              <a:xfrm>
                <a:off x="599328" y="304531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isual </a:t>
                </a:r>
                <a:b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</a:b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ebug history</a:t>
                </a:r>
              </a:p>
            </p:txBody>
          </p:sp>
          <p:sp>
            <p:nvSpPr>
              <p:cNvPr id="114" name="Freeform 37"/>
              <p:cNvSpPr>
                <a:spLocks noEditPoints="1"/>
              </p:cNvSpPr>
              <p:nvPr/>
            </p:nvSpPr>
            <p:spPr bwMode="auto">
              <a:xfrm>
                <a:off x="801250" y="3224210"/>
                <a:ext cx="480154" cy="426290"/>
              </a:xfrm>
              <a:custGeom>
                <a:avLst/>
                <a:gdLst>
                  <a:gd name="T0" fmla="*/ 310 w 310"/>
                  <a:gd name="T1" fmla="*/ 260 h 260"/>
                  <a:gd name="T2" fmla="*/ 0 w 310"/>
                  <a:gd name="T3" fmla="*/ 260 h 260"/>
                  <a:gd name="T4" fmla="*/ 155 w 310"/>
                  <a:gd name="T5" fmla="*/ 0 h 260"/>
                  <a:gd name="T6" fmla="*/ 310 w 310"/>
                  <a:gd name="T7" fmla="*/ 260 h 260"/>
                  <a:gd name="T8" fmla="*/ 29 w 310"/>
                  <a:gd name="T9" fmla="*/ 243 h 260"/>
                  <a:gd name="T10" fmla="*/ 281 w 310"/>
                  <a:gd name="T11" fmla="*/ 243 h 260"/>
                  <a:gd name="T12" fmla="*/ 155 w 310"/>
                  <a:gd name="T13" fmla="*/ 34 h 260"/>
                  <a:gd name="T14" fmla="*/ 29 w 310"/>
                  <a:gd name="T15" fmla="*/ 243 h 260"/>
                  <a:gd name="T16" fmla="*/ 163 w 310"/>
                  <a:gd name="T17" fmla="*/ 84 h 260"/>
                  <a:gd name="T18" fmla="*/ 147 w 310"/>
                  <a:gd name="T19" fmla="*/ 84 h 260"/>
                  <a:gd name="T20" fmla="*/ 147 w 310"/>
                  <a:gd name="T21" fmla="*/ 187 h 260"/>
                  <a:gd name="T22" fmla="*/ 163 w 310"/>
                  <a:gd name="T23" fmla="*/ 187 h 260"/>
                  <a:gd name="T24" fmla="*/ 163 w 310"/>
                  <a:gd name="T25" fmla="*/ 84 h 260"/>
                  <a:gd name="T26" fmla="*/ 163 w 310"/>
                  <a:gd name="T27" fmla="*/ 208 h 260"/>
                  <a:gd name="T28" fmla="*/ 147 w 310"/>
                  <a:gd name="T29" fmla="*/ 208 h 260"/>
                  <a:gd name="T30" fmla="*/ 147 w 310"/>
                  <a:gd name="T31" fmla="*/ 224 h 260"/>
                  <a:gd name="T32" fmla="*/ 163 w 310"/>
                  <a:gd name="T33" fmla="*/ 224 h 260"/>
                  <a:gd name="T34" fmla="*/ 163 w 310"/>
                  <a:gd name="T35" fmla="*/ 208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0" h="260">
                    <a:moveTo>
                      <a:pt x="310" y="260"/>
                    </a:moveTo>
                    <a:lnTo>
                      <a:pt x="0" y="260"/>
                    </a:lnTo>
                    <a:lnTo>
                      <a:pt x="155" y="0"/>
                    </a:lnTo>
                    <a:lnTo>
                      <a:pt x="310" y="260"/>
                    </a:lnTo>
                    <a:close/>
                    <a:moveTo>
                      <a:pt x="29" y="243"/>
                    </a:moveTo>
                    <a:lnTo>
                      <a:pt x="281" y="243"/>
                    </a:lnTo>
                    <a:lnTo>
                      <a:pt x="155" y="34"/>
                    </a:lnTo>
                    <a:lnTo>
                      <a:pt x="29" y="243"/>
                    </a:lnTo>
                    <a:close/>
                    <a:moveTo>
                      <a:pt x="163" y="84"/>
                    </a:moveTo>
                    <a:lnTo>
                      <a:pt x="147" y="84"/>
                    </a:lnTo>
                    <a:lnTo>
                      <a:pt x="147" y="187"/>
                    </a:lnTo>
                    <a:lnTo>
                      <a:pt x="163" y="187"/>
                    </a:lnTo>
                    <a:lnTo>
                      <a:pt x="163" y="84"/>
                    </a:lnTo>
                    <a:close/>
                    <a:moveTo>
                      <a:pt x="163" y="208"/>
                    </a:moveTo>
                    <a:lnTo>
                      <a:pt x="147" y="208"/>
                    </a:lnTo>
                    <a:lnTo>
                      <a:pt x="147" y="224"/>
                    </a:lnTo>
                    <a:lnTo>
                      <a:pt x="163" y="224"/>
                    </a:lnTo>
                    <a:lnTo>
                      <a:pt x="163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587547" y="5302528"/>
              <a:ext cx="2321740" cy="815747"/>
              <a:chOff x="599328" y="5440561"/>
              <a:chExt cx="2368296" cy="832104"/>
            </a:xfrm>
          </p:grpSpPr>
          <p:sp>
            <p:nvSpPr>
              <p:cNvPr id="104" name="Rectangle 103"/>
              <p:cNvSpPr/>
              <p:nvPr/>
            </p:nvSpPr>
            <p:spPr bwMode="auto">
              <a:xfrm>
                <a:off x="599328" y="544056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erbose debugging</a:t>
                </a:r>
              </a:p>
            </p:txBody>
          </p:sp>
          <p:sp>
            <p:nvSpPr>
              <p:cNvPr id="117" name="Freeform 41"/>
              <p:cNvSpPr>
                <a:spLocks noEditPoints="1"/>
              </p:cNvSpPr>
              <p:nvPr/>
            </p:nvSpPr>
            <p:spPr bwMode="auto">
              <a:xfrm>
                <a:off x="855944" y="5657299"/>
                <a:ext cx="413020" cy="441496"/>
              </a:xfrm>
              <a:custGeom>
                <a:avLst/>
                <a:gdLst>
                  <a:gd name="T0" fmla="*/ 56 w 104"/>
                  <a:gd name="T1" fmla="*/ 104 h 104"/>
                  <a:gd name="T2" fmla="*/ 56 w 104"/>
                  <a:gd name="T3" fmla="*/ 88 h 104"/>
                  <a:gd name="T4" fmla="*/ 88 w 104"/>
                  <a:gd name="T5" fmla="*/ 56 h 104"/>
                  <a:gd name="T6" fmla="*/ 104 w 104"/>
                  <a:gd name="T7" fmla="*/ 56 h 104"/>
                  <a:gd name="T8" fmla="*/ 104 w 104"/>
                  <a:gd name="T9" fmla="*/ 48 h 104"/>
                  <a:gd name="T10" fmla="*/ 88 w 104"/>
                  <a:gd name="T11" fmla="*/ 48 h 104"/>
                  <a:gd name="T12" fmla="*/ 56 w 104"/>
                  <a:gd name="T13" fmla="*/ 16 h 104"/>
                  <a:gd name="T14" fmla="*/ 56 w 104"/>
                  <a:gd name="T15" fmla="*/ 0 h 104"/>
                  <a:gd name="T16" fmla="*/ 48 w 104"/>
                  <a:gd name="T17" fmla="*/ 0 h 104"/>
                  <a:gd name="T18" fmla="*/ 48 w 104"/>
                  <a:gd name="T19" fmla="*/ 16 h 104"/>
                  <a:gd name="T20" fmla="*/ 16 w 104"/>
                  <a:gd name="T21" fmla="*/ 48 h 104"/>
                  <a:gd name="T22" fmla="*/ 0 w 104"/>
                  <a:gd name="T23" fmla="*/ 48 h 104"/>
                  <a:gd name="T24" fmla="*/ 0 w 104"/>
                  <a:gd name="T25" fmla="*/ 56 h 104"/>
                  <a:gd name="T26" fmla="*/ 16 w 104"/>
                  <a:gd name="T27" fmla="*/ 56 h 104"/>
                  <a:gd name="T28" fmla="*/ 48 w 104"/>
                  <a:gd name="T29" fmla="*/ 88 h 104"/>
                  <a:gd name="T30" fmla="*/ 48 w 104"/>
                  <a:gd name="T31" fmla="*/ 104 h 104"/>
                  <a:gd name="T32" fmla="*/ 56 w 104"/>
                  <a:gd name="T33" fmla="*/ 104 h 104"/>
                  <a:gd name="T34" fmla="*/ 24 w 104"/>
                  <a:gd name="T35" fmla="*/ 52 h 104"/>
                  <a:gd name="T36" fmla="*/ 52 w 104"/>
                  <a:gd name="T37" fmla="*/ 24 h 104"/>
                  <a:gd name="T38" fmla="*/ 80 w 104"/>
                  <a:gd name="T39" fmla="*/ 52 h 104"/>
                  <a:gd name="T40" fmla="*/ 52 w 104"/>
                  <a:gd name="T41" fmla="*/ 80 h 104"/>
                  <a:gd name="T42" fmla="*/ 24 w 104"/>
                  <a:gd name="T43" fmla="*/ 52 h 104"/>
                  <a:gd name="T44" fmla="*/ 68 w 104"/>
                  <a:gd name="T45" fmla="*/ 52 h 104"/>
                  <a:gd name="T46" fmla="*/ 52 w 104"/>
                  <a:gd name="T47" fmla="*/ 36 h 104"/>
                  <a:gd name="T48" fmla="*/ 36 w 104"/>
                  <a:gd name="T49" fmla="*/ 52 h 104"/>
                  <a:gd name="T50" fmla="*/ 52 w 104"/>
                  <a:gd name="T51" fmla="*/ 68 h 104"/>
                  <a:gd name="T52" fmla="*/ 68 w 104"/>
                  <a:gd name="T53" fmla="*/ 52 h 104"/>
                  <a:gd name="T54" fmla="*/ 44 w 104"/>
                  <a:gd name="T55" fmla="*/ 52 h 104"/>
                  <a:gd name="T56" fmla="*/ 52 w 104"/>
                  <a:gd name="T57" fmla="*/ 44 h 104"/>
                  <a:gd name="T58" fmla="*/ 60 w 104"/>
                  <a:gd name="T59" fmla="*/ 52 h 104"/>
                  <a:gd name="T60" fmla="*/ 52 w 104"/>
                  <a:gd name="T61" fmla="*/ 60 h 104"/>
                  <a:gd name="T62" fmla="*/ 44 w 104"/>
                  <a:gd name="T63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4" h="104">
                    <a:moveTo>
                      <a:pt x="56" y="104"/>
                    </a:moveTo>
                    <a:cubicBezTo>
                      <a:pt x="56" y="88"/>
                      <a:pt x="56" y="88"/>
                      <a:pt x="56" y="88"/>
                    </a:cubicBezTo>
                    <a:cubicBezTo>
                      <a:pt x="73" y="86"/>
                      <a:pt x="86" y="73"/>
                      <a:pt x="88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8"/>
                      <a:pt x="104" y="48"/>
                      <a:pt x="104" y="48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6" y="31"/>
                      <a:pt x="73" y="18"/>
                      <a:pt x="56" y="1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31" y="18"/>
                      <a:pt x="18" y="31"/>
                      <a:pt x="16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8" y="73"/>
                      <a:pt x="31" y="86"/>
                      <a:pt x="48" y="88"/>
                    </a:cubicBezTo>
                    <a:cubicBezTo>
                      <a:pt x="48" y="104"/>
                      <a:pt x="48" y="104"/>
                      <a:pt x="48" y="104"/>
                    </a:cubicBezTo>
                    <a:lnTo>
                      <a:pt x="56" y="104"/>
                    </a:lnTo>
                    <a:close/>
                    <a:moveTo>
                      <a:pt x="24" y="52"/>
                    </a:moveTo>
                    <a:cubicBezTo>
                      <a:pt x="24" y="37"/>
                      <a:pt x="37" y="24"/>
                      <a:pt x="52" y="24"/>
                    </a:cubicBezTo>
                    <a:cubicBezTo>
                      <a:pt x="67" y="24"/>
                      <a:pt x="80" y="37"/>
                      <a:pt x="80" y="52"/>
                    </a:cubicBezTo>
                    <a:cubicBezTo>
                      <a:pt x="80" y="67"/>
                      <a:pt x="67" y="80"/>
                      <a:pt x="52" y="80"/>
                    </a:cubicBezTo>
                    <a:cubicBezTo>
                      <a:pt x="37" y="80"/>
                      <a:pt x="24" y="67"/>
                      <a:pt x="24" y="52"/>
                    </a:cubicBezTo>
                    <a:close/>
                    <a:moveTo>
                      <a:pt x="68" y="52"/>
                    </a:moveTo>
                    <a:cubicBezTo>
                      <a:pt x="68" y="43"/>
                      <a:pt x="61" y="36"/>
                      <a:pt x="52" y="36"/>
                    </a:cubicBezTo>
                    <a:cubicBezTo>
                      <a:pt x="43" y="36"/>
                      <a:pt x="36" y="43"/>
                      <a:pt x="36" y="52"/>
                    </a:cubicBezTo>
                    <a:cubicBezTo>
                      <a:pt x="36" y="61"/>
                      <a:pt x="43" y="68"/>
                      <a:pt x="52" y="68"/>
                    </a:cubicBezTo>
                    <a:cubicBezTo>
                      <a:pt x="61" y="68"/>
                      <a:pt x="68" y="61"/>
                      <a:pt x="68" y="52"/>
                    </a:cubicBezTo>
                    <a:close/>
                    <a:moveTo>
                      <a:pt x="44" y="52"/>
                    </a:moveTo>
                    <a:cubicBezTo>
                      <a:pt x="44" y="48"/>
                      <a:pt x="48" y="44"/>
                      <a:pt x="52" y="44"/>
                    </a:cubicBezTo>
                    <a:cubicBezTo>
                      <a:pt x="56" y="44"/>
                      <a:pt x="60" y="48"/>
                      <a:pt x="60" y="52"/>
                    </a:cubicBezTo>
                    <a:cubicBezTo>
                      <a:pt x="60" y="56"/>
                      <a:pt x="56" y="60"/>
                      <a:pt x="52" y="60"/>
                    </a:cubicBezTo>
                    <a:cubicBezTo>
                      <a:pt x="48" y="60"/>
                      <a:pt x="44" y="56"/>
                      <a:pt x="44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546275" y="2342402"/>
              <a:ext cx="2365688" cy="811668"/>
              <a:chOff x="557228" y="1851846"/>
              <a:chExt cx="2413125" cy="827944"/>
            </a:xfrm>
          </p:grpSpPr>
          <p:sp>
            <p:nvSpPr>
              <p:cNvPr id="105" name="Rectangle 104"/>
              <p:cNvSpPr/>
              <p:nvPr/>
            </p:nvSpPr>
            <p:spPr bwMode="auto">
              <a:xfrm>
                <a:off x="599328" y="1851846"/>
                <a:ext cx="2371025" cy="8279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DE support</a:t>
                </a:r>
              </a:p>
            </p:txBody>
          </p:sp>
          <p:pic>
            <p:nvPicPr>
              <p:cNvPr id="119" name="Picture 118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4612" b="31602"/>
              <a:stretch/>
            </p:blipFill>
            <p:spPr>
              <a:xfrm>
                <a:off x="557228" y="2060883"/>
                <a:ext cx="925975" cy="373937"/>
              </a:xfrm>
              <a:prstGeom prst="rect">
                <a:avLst/>
              </a:prstGeom>
            </p:spPr>
          </p:pic>
        </p:grpSp>
      </p:grpSp>
      <p:sp>
        <p:nvSpPr>
          <p:cNvPr id="16" name="Rectangle 15"/>
          <p:cNvSpPr/>
          <p:nvPr/>
        </p:nvSpPr>
        <p:spPr bwMode="auto">
          <a:xfrm>
            <a:off x="3555925" y="1582329"/>
            <a:ext cx="8422532" cy="478903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Platfor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679988" y="5127960"/>
            <a:ext cx="8174405" cy="1137519"/>
            <a:chOff x="3607295" y="5027869"/>
            <a:chExt cx="8014850" cy="1115316"/>
          </a:xfrm>
        </p:grpSpPr>
        <p:grpSp>
          <p:nvGrpSpPr>
            <p:cNvPr id="1027" name="Group 1026"/>
            <p:cNvGrpSpPr/>
            <p:nvPr/>
          </p:nvGrpSpPr>
          <p:grpSpPr>
            <a:xfrm>
              <a:off x="10086139" y="5027869"/>
              <a:ext cx="1536006" cy="1115316"/>
              <a:chOff x="6334709" y="3399990"/>
              <a:chExt cx="1435608" cy="104241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6334709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Bot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pic>
            <p:nvPicPr>
              <p:cNvPr id="1026" name="Picture 2" descr="Image result for azure bot service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4471" y="3945503"/>
                <a:ext cx="616084" cy="323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30" name="Group 1029"/>
            <p:cNvGrpSpPr/>
            <p:nvPr/>
          </p:nvGrpSpPr>
          <p:grpSpPr>
            <a:xfrm>
              <a:off x="3607295" y="5027869"/>
              <a:ext cx="1536006" cy="1115316"/>
              <a:chOff x="756806" y="3399990"/>
              <a:chExt cx="1435608" cy="1042416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756806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ata/storage</a:t>
                </a:r>
              </a:p>
            </p:txBody>
          </p:sp>
          <p:sp>
            <p:nvSpPr>
              <p:cNvPr id="28" name="Freeform 6"/>
              <p:cNvSpPr>
                <a:spLocks noEditPoints="1"/>
              </p:cNvSpPr>
              <p:nvPr/>
            </p:nvSpPr>
            <p:spPr bwMode="auto">
              <a:xfrm>
                <a:off x="1302978" y="3925683"/>
                <a:ext cx="343264" cy="343264"/>
              </a:xfrm>
              <a:custGeom>
                <a:avLst/>
                <a:gdLst>
                  <a:gd name="T0" fmla="*/ 134 w 268"/>
                  <a:gd name="T1" fmla="*/ 0 h 268"/>
                  <a:gd name="T2" fmla="*/ 40 w 268"/>
                  <a:gd name="T3" fmla="*/ 59 h 268"/>
                  <a:gd name="T4" fmla="*/ 0 w 268"/>
                  <a:gd name="T5" fmla="*/ 59 h 268"/>
                  <a:gd name="T6" fmla="*/ 0 w 268"/>
                  <a:gd name="T7" fmla="*/ 268 h 268"/>
                  <a:gd name="T8" fmla="*/ 268 w 268"/>
                  <a:gd name="T9" fmla="*/ 268 h 268"/>
                  <a:gd name="T10" fmla="*/ 268 w 268"/>
                  <a:gd name="T11" fmla="*/ 59 h 268"/>
                  <a:gd name="T12" fmla="*/ 228 w 268"/>
                  <a:gd name="T13" fmla="*/ 59 h 268"/>
                  <a:gd name="T14" fmla="*/ 134 w 268"/>
                  <a:gd name="T15" fmla="*/ 0 h 268"/>
                  <a:gd name="T16" fmla="*/ 50 w 268"/>
                  <a:gd name="T17" fmla="*/ 84 h 268"/>
                  <a:gd name="T18" fmla="*/ 126 w 268"/>
                  <a:gd name="T19" fmla="*/ 138 h 268"/>
                  <a:gd name="T20" fmla="*/ 126 w 268"/>
                  <a:gd name="T21" fmla="*/ 212 h 268"/>
                  <a:gd name="T22" fmla="*/ 50 w 268"/>
                  <a:gd name="T23" fmla="*/ 159 h 268"/>
                  <a:gd name="T24" fmla="*/ 50 w 268"/>
                  <a:gd name="T25" fmla="*/ 84 h 268"/>
                  <a:gd name="T26" fmla="*/ 142 w 268"/>
                  <a:gd name="T27" fmla="*/ 138 h 268"/>
                  <a:gd name="T28" fmla="*/ 218 w 268"/>
                  <a:gd name="T29" fmla="*/ 84 h 268"/>
                  <a:gd name="T30" fmla="*/ 218 w 268"/>
                  <a:gd name="T31" fmla="*/ 159 h 268"/>
                  <a:gd name="T32" fmla="*/ 142 w 268"/>
                  <a:gd name="T33" fmla="*/ 212 h 268"/>
                  <a:gd name="T34" fmla="*/ 142 w 268"/>
                  <a:gd name="T35" fmla="*/ 138 h 268"/>
                  <a:gd name="T36" fmla="*/ 212 w 268"/>
                  <a:gd name="T37" fmla="*/ 69 h 268"/>
                  <a:gd name="T38" fmla="*/ 134 w 268"/>
                  <a:gd name="T39" fmla="*/ 124 h 268"/>
                  <a:gd name="T40" fmla="*/ 56 w 268"/>
                  <a:gd name="T41" fmla="*/ 69 h 268"/>
                  <a:gd name="T42" fmla="*/ 134 w 268"/>
                  <a:gd name="T43" fmla="*/ 19 h 268"/>
                  <a:gd name="T44" fmla="*/ 212 w 268"/>
                  <a:gd name="T45" fmla="*/ 69 h 268"/>
                  <a:gd name="T46" fmla="*/ 251 w 268"/>
                  <a:gd name="T47" fmla="*/ 251 h 268"/>
                  <a:gd name="T48" fmla="*/ 17 w 268"/>
                  <a:gd name="T49" fmla="*/ 251 h 268"/>
                  <a:gd name="T50" fmla="*/ 17 w 268"/>
                  <a:gd name="T51" fmla="*/ 75 h 268"/>
                  <a:gd name="T52" fmla="*/ 33 w 268"/>
                  <a:gd name="T53" fmla="*/ 75 h 268"/>
                  <a:gd name="T54" fmla="*/ 33 w 268"/>
                  <a:gd name="T55" fmla="*/ 168 h 268"/>
                  <a:gd name="T56" fmla="*/ 134 w 268"/>
                  <a:gd name="T57" fmla="*/ 237 h 268"/>
                  <a:gd name="T58" fmla="*/ 235 w 268"/>
                  <a:gd name="T59" fmla="*/ 168 h 268"/>
                  <a:gd name="T60" fmla="*/ 235 w 268"/>
                  <a:gd name="T61" fmla="*/ 75 h 268"/>
                  <a:gd name="T62" fmla="*/ 251 w 268"/>
                  <a:gd name="T63" fmla="*/ 75 h 268"/>
                  <a:gd name="T64" fmla="*/ 251 w 268"/>
                  <a:gd name="T65" fmla="*/ 251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8" h="268">
                    <a:moveTo>
                      <a:pt x="134" y="0"/>
                    </a:moveTo>
                    <a:lnTo>
                      <a:pt x="40" y="59"/>
                    </a:lnTo>
                    <a:lnTo>
                      <a:pt x="0" y="59"/>
                    </a:lnTo>
                    <a:lnTo>
                      <a:pt x="0" y="268"/>
                    </a:lnTo>
                    <a:lnTo>
                      <a:pt x="268" y="268"/>
                    </a:lnTo>
                    <a:lnTo>
                      <a:pt x="268" y="59"/>
                    </a:lnTo>
                    <a:lnTo>
                      <a:pt x="228" y="59"/>
                    </a:lnTo>
                    <a:lnTo>
                      <a:pt x="134" y="0"/>
                    </a:lnTo>
                    <a:close/>
                    <a:moveTo>
                      <a:pt x="50" y="84"/>
                    </a:moveTo>
                    <a:lnTo>
                      <a:pt x="126" y="138"/>
                    </a:lnTo>
                    <a:lnTo>
                      <a:pt x="126" y="212"/>
                    </a:lnTo>
                    <a:lnTo>
                      <a:pt x="50" y="159"/>
                    </a:lnTo>
                    <a:lnTo>
                      <a:pt x="50" y="84"/>
                    </a:lnTo>
                    <a:close/>
                    <a:moveTo>
                      <a:pt x="142" y="138"/>
                    </a:moveTo>
                    <a:lnTo>
                      <a:pt x="218" y="84"/>
                    </a:lnTo>
                    <a:lnTo>
                      <a:pt x="218" y="159"/>
                    </a:lnTo>
                    <a:lnTo>
                      <a:pt x="142" y="212"/>
                    </a:lnTo>
                    <a:lnTo>
                      <a:pt x="142" y="138"/>
                    </a:lnTo>
                    <a:close/>
                    <a:moveTo>
                      <a:pt x="212" y="69"/>
                    </a:moveTo>
                    <a:lnTo>
                      <a:pt x="134" y="124"/>
                    </a:lnTo>
                    <a:lnTo>
                      <a:pt x="56" y="69"/>
                    </a:lnTo>
                    <a:lnTo>
                      <a:pt x="134" y="19"/>
                    </a:lnTo>
                    <a:lnTo>
                      <a:pt x="212" y="69"/>
                    </a:lnTo>
                    <a:close/>
                    <a:moveTo>
                      <a:pt x="251" y="251"/>
                    </a:moveTo>
                    <a:lnTo>
                      <a:pt x="17" y="251"/>
                    </a:lnTo>
                    <a:lnTo>
                      <a:pt x="17" y="75"/>
                    </a:lnTo>
                    <a:lnTo>
                      <a:pt x="33" y="75"/>
                    </a:lnTo>
                    <a:lnTo>
                      <a:pt x="33" y="168"/>
                    </a:lnTo>
                    <a:lnTo>
                      <a:pt x="134" y="237"/>
                    </a:lnTo>
                    <a:lnTo>
                      <a:pt x="235" y="168"/>
                    </a:lnTo>
                    <a:lnTo>
                      <a:pt x="235" y="75"/>
                    </a:lnTo>
                    <a:lnTo>
                      <a:pt x="251" y="75"/>
                    </a:lnTo>
                    <a:lnTo>
                      <a:pt x="251" y="2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9" name="Group 1028"/>
            <p:cNvGrpSpPr/>
            <p:nvPr/>
          </p:nvGrpSpPr>
          <p:grpSpPr>
            <a:xfrm>
              <a:off x="5227006" y="5027869"/>
              <a:ext cx="1536006" cy="1115316"/>
              <a:chOff x="2124777" y="3399990"/>
              <a:chExt cx="1435608" cy="1042416"/>
            </a:xfrm>
          </p:grpSpPr>
          <p:sp>
            <p:nvSpPr>
              <p:cNvPr id="76" name="Rectangle 75"/>
              <p:cNvSpPr/>
              <p:nvPr/>
            </p:nvSpPr>
            <p:spPr bwMode="auto">
              <a:xfrm>
                <a:off x="2124777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Messaging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sp>
            <p:nvSpPr>
              <p:cNvPr id="31" name="Freeform 10"/>
              <p:cNvSpPr>
                <a:spLocks noEditPoints="1"/>
              </p:cNvSpPr>
              <p:nvPr/>
            </p:nvSpPr>
            <p:spPr bwMode="auto">
              <a:xfrm>
                <a:off x="2670949" y="4030713"/>
                <a:ext cx="343264" cy="238234"/>
              </a:xfrm>
              <a:custGeom>
                <a:avLst/>
                <a:gdLst>
                  <a:gd name="T0" fmla="*/ 0 w 268"/>
                  <a:gd name="T1" fmla="*/ 186 h 186"/>
                  <a:gd name="T2" fmla="*/ 268 w 268"/>
                  <a:gd name="T3" fmla="*/ 186 h 186"/>
                  <a:gd name="T4" fmla="*/ 268 w 268"/>
                  <a:gd name="T5" fmla="*/ 0 h 186"/>
                  <a:gd name="T6" fmla="*/ 0 w 268"/>
                  <a:gd name="T7" fmla="*/ 0 h 186"/>
                  <a:gd name="T8" fmla="*/ 0 w 268"/>
                  <a:gd name="T9" fmla="*/ 186 h 186"/>
                  <a:gd name="T10" fmla="*/ 233 w 268"/>
                  <a:gd name="T11" fmla="*/ 17 h 186"/>
                  <a:gd name="T12" fmla="*/ 134 w 268"/>
                  <a:gd name="T13" fmla="*/ 82 h 186"/>
                  <a:gd name="T14" fmla="*/ 36 w 268"/>
                  <a:gd name="T15" fmla="*/ 17 h 186"/>
                  <a:gd name="T16" fmla="*/ 233 w 268"/>
                  <a:gd name="T17" fmla="*/ 17 h 186"/>
                  <a:gd name="T18" fmla="*/ 17 w 268"/>
                  <a:gd name="T19" fmla="*/ 25 h 186"/>
                  <a:gd name="T20" fmla="*/ 134 w 268"/>
                  <a:gd name="T21" fmla="*/ 103 h 186"/>
                  <a:gd name="T22" fmla="*/ 251 w 268"/>
                  <a:gd name="T23" fmla="*/ 25 h 186"/>
                  <a:gd name="T24" fmla="*/ 251 w 268"/>
                  <a:gd name="T25" fmla="*/ 169 h 186"/>
                  <a:gd name="T26" fmla="*/ 17 w 268"/>
                  <a:gd name="T27" fmla="*/ 169 h 186"/>
                  <a:gd name="T28" fmla="*/ 17 w 268"/>
                  <a:gd name="T29" fmla="*/ 25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8" h="186">
                    <a:moveTo>
                      <a:pt x="0" y="186"/>
                    </a:moveTo>
                    <a:lnTo>
                      <a:pt x="268" y="186"/>
                    </a:lnTo>
                    <a:lnTo>
                      <a:pt x="268" y="0"/>
                    </a:lnTo>
                    <a:lnTo>
                      <a:pt x="0" y="0"/>
                    </a:lnTo>
                    <a:lnTo>
                      <a:pt x="0" y="186"/>
                    </a:lnTo>
                    <a:close/>
                    <a:moveTo>
                      <a:pt x="233" y="17"/>
                    </a:moveTo>
                    <a:lnTo>
                      <a:pt x="134" y="82"/>
                    </a:lnTo>
                    <a:lnTo>
                      <a:pt x="36" y="17"/>
                    </a:lnTo>
                    <a:lnTo>
                      <a:pt x="233" y="17"/>
                    </a:lnTo>
                    <a:close/>
                    <a:moveTo>
                      <a:pt x="17" y="25"/>
                    </a:moveTo>
                    <a:lnTo>
                      <a:pt x="134" y="103"/>
                    </a:lnTo>
                    <a:lnTo>
                      <a:pt x="251" y="25"/>
                    </a:lnTo>
                    <a:lnTo>
                      <a:pt x="251" y="169"/>
                    </a:lnTo>
                    <a:lnTo>
                      <a:pt x="17" y="169"/>
                    </a:lnTo>
                    <a:lnTo>
                      <a:pt x="17" y="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5" name="Group 1024"/>
            <p:cNvGrpSpPr/>
            <p:nvPr/>
          </p:nvGrpSpPr>
          <p:grpSpPr>
            <a:xfrm>
              <a:off x="8466428" y="5027869"/>
              <a:ext cx="1536006" cy="1115316"/>
              <a:chOff x="4851731" y="3399990"/>
              <a:chExt cx="1435608" cy="1042416"/>
            </a:xfrm>
          </p:grpSpPr>
          <p:sp>
            <p:nvSpPr>
              <p:cNvPr id="7" name="Rectangle 6"/>
              <p:cNvSpPr/>
              <p:nvPr/>
            </p:nvSpPr>
            <p:spPr bwMode="auto">
              <a:xfrm>
                <a:off x="4851731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ntelligence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</a:t>
                </a:r>
              </a:p>
            </p:txBody>
          </p:sp>
          <p:sp>
            <p:nvSpPr>
              <p:cNvPr id="34" name="Freeform 14"/>
              <p:cNvSpPr>
                <a:spLocks noEditPoints="1"/>
              </p:cNvSpPr>
              <p:nvPr/>
            </p:nvSpPr>
            <p:spPr bwMode="auto">
              <a:xfrm>
                <a:off x="5458102" y="4007657"/>
                <a:ext cx="222866" cy="261290"/>
              </a:xfrm>
              <a:custGeom>
                <a:avLst/>
                <a:gdLst>
                  <a:gd name="T0" fmla="*/ 81 w 82"/>
                  <a:gd name="T1" fmla="*/ 76 h 96"/>
                  <a:gd name="T2" fmla="*/ 61 w 82"/>
                  <a:gd name="T3" fmla="*/ 39 h 96"/>
                  <a:gd name="T4" fmla="*/ 61 w 82"/>
                  <a:gd name="T5" fmla="*/ 8 h 96"/>
                  <a:gd name="T6" fmla="*/ 65 w 82"/>
                  <a:gd name="T7" fmla="*/ 8 h 96"/>
                  <a:gd name="T8" fmla="*/ 65 w 82"/>
                  <a:gd name="T9" fmla="*/ 0 h 96"/>
                  <a:gd name="T10" fmla="*/ 61 w 82"/>
                  <a:gd name="T11" fmla="*/ 0 h 96"/>
                  <a:gd name="T12" fmla="*/ 21 w 82"/>
                  <a:gd name="T13" fmla="*/ 0 h 96"/>
                  <a:gd name="T14" fmla="*/ 17 w 82"/>
                  <a:gd name="T15" fmla="*/ 0 h 96"/>
                  <a:gd name="T16" fmla="*/ 17 w 82"/>
                  <a:gd name="T17" fmla="*/ 8 h 96"/>
                  <a:gd name="T18" fmla="*/ 21 w 82"/>
                  <a:gd name="T19" fmla="*/ 8 h 96"/>
                  <a:gd name="T20" fmla="*/ 21 w 82"/>
                  <a:gd name="T21" fmla="*/ 39 h 96"/>
                  <a:gd name="T22" fmla="*/ 1 w 82"/>
                  <a:gd name="T23" fmla="*/ 76 h 96"/>
                  <a:gd name="T24" fmla="*/ 0 w 82"/>
                  <a:gd name="T25" fmla="*/ 82 h 96"/>
                  <a:gd name="T26" fmla="*/ 3 w 82"/>
                  <a:gd name="T27" fmla="*/ 92 h 96"/>
                  <a:gd name="T28" fmla="*/ 13 w 82"/>
                  <a:gd name="T29" fmla="*/ 96 h 96"/>
                  <a:gd name="T30" fmla="*/ 69 w 82"/>
                  <a:gd name="T31" fmla="*/ 96 h 96"/>
                  <a:gd name="T32" fmla="*/ 79 w 82"/>
                  <a:gd name="T33" fmla="*/ 92 h 96"/>
                  <a:gd name="T34" fmla="*/ 82 w 82"/>
                  <a:gd name="T35" fmla="*/ 82 h 96"/>
                  <a:gd name="T36" fmla="*/ 81 w 82"/>
                  <a:gd name="T37" fmla="*/ 76 h 96"/>
                  <a:gd name="T38" fmla="*/ 53 w 82"/>
                  <a:gd name="T39" fmla="*/ 8 h 96"/>
                  <a:gd name="T40" fmla="*/ 53 w 82"/>
                  <a:gd name="T41" fmla="*/ 16 h 96"/>
                  <a:gd name="T42" fmla="*/ 45 w 82"/>
                  <a:gd name="T43" fmla="*/ 16 h 96"/>
                  <a:gd name="T44" fmla="*/ 45 w 82"/>
                  <a:gd name="T45" fmla="*/ 24 h 96"/>
                  <a:gd name="T46" fmla="*/ 53 w 82"/>
                  <a:gd name="T47" fmla="*/ 24 h 96"/>
                  <a:gd name="T48" fmla="*/ 53 w 82"/>
                  <a:gd name="T49" fmla="*/ 32 h 96"/>
                  <a:gd name="T50" fmla="*/ 45 w 82"/>
                  <a:gd name="T51" fmla="*/ 32 h 96"/>
                  <a:gd name="T52" fmla="*/ 45 w 82"/>
                  <a:gd name="T53" fmla="*/ 40 h 96"/>
                  <a:gd name="T54" fmla="*/ 53 w 82"/>
                  <a:gd name="T55" fmla="*/ 40 h 96"/>
                  <a:gd name="T56" fmla="*/ 53 w 82"/>
                  <a:gd name="T57" fmla="*/ 41 h 96"/>
                  <a:gd name="T58" fmla="*/ 57 w 82"/>
                  <a:gd name="T59" fmla="*/ 48 h 96"/>
                  <a:gd name="T60" fmla="*/ 45 w 82"/>
                  <a:gd name="T61" fmla="*/ 48 h 96"/>
                  <a:gd name="T62" fmla="*/ 45 w 82"/>
                  <a:gd name="T63" fmla="*/ 56 h 96"/>
                  <a:gd name="T64" fmla="*/ 61 w 82"/>
                  <a:gd name="T65" fmla="*/ 56 h 96"/>
                  <a:gd name="T66" fmla="*/ 65 w 82"/>
                  <a:gd name="T67" fmla="*/ 64 h 96"/>
                  <a:gd name="T68" fmla="*/ 17 w 82"/>
                  <a:gd name="T69" fmla="*/ 64 h 96"/>
                  <a:gd name="T70" fmla="*/ 29 w 82"/>
                  <a:gd name="T71" fmla="*/ 41 h 96"/>
                  <a:gd name="T72" fmla="*/ 29 w 82"/>
                  <a:gd name="T73" fmla="*/ 40 h 96"/>
                  <a:gd name="T74" fmla="*/ 29 w 82"/>
                  <a:gd name="T75" fmla="*/ 8 h 96"/>
                  <a:gd name="T76" fmla="*/ 53 w 82"/>
                  <a:gd name="T77" fmla="*/ 8 h 96"/>
                  <a:gd name="T78" fmla="*/ 73 w 82"/>
                  <a:gd name="T79" fmla="*/ 86 h 96"/>
                  <a:gd name="T80" fmla="*/ 69 w 82"/>
                  <a:gd name="T81" fmla="*/ 88 h 96"/>
                  <a:gd name="T82" fmla="*/ 13 w 82"/>
                  <a:gd name="T83" fmla="*/ 88 h 96"/>
                  <a:gd name="T84" fmla="*/ 9 w 82"/>
                  <a:gd name="T85" fmla="*/ 86 h 96"/>
                  <a:gd name="T86" fmla="*/ 8 w 82"/>
                  <a:gd name="T87" fmla="*/ 82 h 96"/>
                  <a:gd name="T88" fmla="*/ 8 w 82"/>
                  <a:gd name="T89" fmla="*/ 80 h 96"/>
                  <a:gd name="T90" fmla="*/ 12 w 82"/>
                  <a:gd name="T91" fmla="*/ 72 h 96"/>
                  <a:gd name="T92" fmla="*/ 70 w 82"/>
                  <a:gd name="T93" fmla="*/ 72 h 96"/>
                  <a:gd name="T94" fmla="*/ 74 w 82"/>
                  <a:gd name="T95" fmla="*/ 80 h 96"/>
                  <a:gd name="T96" fmla="*/ 74 w 82"/>
                  <a:gd name="T97" fmla="*/ 82 h 96"/>
                  <a:gd name="T98" fmla="*/ 73 w 82"/>
                  <a:gd name="T99" fmla="*/ 8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2" h="96">
                    <a:moveTo>
                      <a:pt x="81" y="76"/>
                    </a:moveTo>
                    <a:cubicBezTo>
                      <a:pt x="61" y="39"/>
                      <a:pt x="61" y="39"/>
                      <a:pt x="61" y="39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8"/>
                      <a:pt x="0" y="80"/>
                      <a:pt x="0" y="82"/>
                    </a:cubicBezTo>
                    <a:cubicBezTo>
                      <a:pt x="0" y="86"/>
                      <a:pt x="1" y="89"/>
                      <a:pt x="3" y="92"/>
                    </a:cubicBezTo>
                    <a:cubicBezTo>
                      <a:pt x="6" y="94"/>
                      <a:pt x="9" y="96"/>
                      <a:pt x="13" y="96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73" y="96"/>
                      <a:pt x="76" y="94"/>
                      <a:pt x="79" y="92"/>
                    </a:cubicBezTo>
                    <a:cubicBezTo>
                      <a:pt x="81" y="89"/>
                      <a:pt x="82" y="86"/>
                      <a:pt x="82" y="82"/>
                    </a:cubicBezTo>
                    <a:cubicBezTo>
                      <a:pt x="82" y="80"/>
                      <a:pt x="82" y="78"/>
                      <a:pt x="81" y="76"/>
                    </a:cubicBezTo>
                    <a:close/>
                    <a:moveTo>
                      <a:pt x="53" y="8"/>
                    </a:moveTo>
                    <a:cubicBezTo>
                      <a:pt x="53" y="16"/>
                      <a:pt x="53" y="16"/>
                      <a:pt x="53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53" y="40"/>
                      <a:pt x="53" y="40"/>
                      <a:pt x="53" y="40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7" y="48"/>
                      <a:pt x="57" y="48"/>
                      <a:pt x="57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56"/>
                      <a:pt x="45" y="56"/>
                      <a:pt x="45" y="56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9" y="8"/>
                      <a:pt x="29" y="8"/>
                      <a:pt x="29" y="8"/>
                    </a:cubicBezTo>
                    <a:lnTo>
                      <a:pt x="53" y="8"/>
                    </a:lnTo>
                    <a:close/>
                    <a:moveTo>
                      <a:pt x="73" y="86"/>
                    </a:moveTo>
                    <a:cubicBezTo>
                      <a:pt x="72" y="87"/>
                      <a:pt x="71" y="88"/>
                      <a:pt x="69" y="88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2" y="88"/>
                      <a:pt x="10" y="87"/>
                      <a:pt x="9" y="86"/>
                    </a:cubicBezTo>
                    <a:cubicBezTo>
                      <a:pt x="8" y="85"/>
                      <a:pt x="8" y="84"/>
                      <a:pt x="8" y="82"/>
                    </a:cubicBezTo>
                    <a:cubicBezTo>
                      <a:pt x="8" y="81"/>
                      <a:pt x="8" y="81"/>
                      <a:pt x="8" y="80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70" y="72"/>
                      <a:pt x="70" y="72"/>
                      <a:pt x="70" y="72"/>
                    </a:cubicBezTo>
                    <a:cubicBezTo>
                      <a:pt x="74" y="80"/>
                      <a:pt x="74" y="80"/>
                      <a:pt x="74" y="80"/>
                    </a:cubicBezTo>
                    <a:cubicBezTo>
                      <a:pt x="74" y="81"/>
                      <a:pt x="74" y="81"/>
                      <a:pt x="74" y="82"/>
                    </a:cubicBezTo>
                    <a:cubicBezTo>
                      <a:pt x="74" y="84"/>
                      <a:pt x="74" y="85"/>
                      <a:pt x="73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8" name="Group 1027"/>
            <p:cNvGrpSpPr/>
            <p:nvPr/>
          </p:nvGrpSpPr>
          <p:grpSpPr>
            <a:xfrm>
              <a:off x="6846717" y="5027869"/>
              <a:ext cx="1536006" cy="1115316"/>
              <a:chOff x="3371122" y="3399990"/>
              <a:chExt cx="1435608" cy="1042416"/>
            </a:xfrm>
          </p:grpSpPr>
          <p:sp>
            <p:nvSpPr>
              <p:cNvPr id="96" name="Rectangle 95"/>
              <p:cNvSpPr/>
              <p:nvPr/>
            </p:nvSpPr>
            <p:spPr bwMode="auto">
              <a:xfrm>
                <a:off x="3371122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Gateway Connector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</a:t>
                </a:r>
              </a:p>
            </p:txBody>
          </p:sp>
          <p:sp>
            <p:nvSpPr>
              <p:cNvPr id="51" name="Freeform 29"/>
              <p:cNvSpPr>
                <a:spLocks/>
              </p:cNvSpPr>
              <p:nvPr/>
            </p:nvSpPr>
            <p:spPr bwMode="auto">
              <a:xfrm>
                <a:off x="3917293" y="4051205"/>
                <a:ext cx="343266" cy="217742"/>
              </a:xfrm>
              <a:custGeom>
                <a:avLst/>
                <a:gdLst>
                  <a:gd name="T0" fmla="*/ 184 w 268"/>
                  <a:gd name="T1" fmla="*/ 42 h 170"/>
                  <a:gd name="T2" fmla="*/ 184 w 268"/>
                  <a:gd name="T3" fmla="*/ 25 h 170"/>
                  <a:gd name="T4" fmla="*/ 168 w 268"/>
                  <a:gd name="T5" fmla="*/ 25 h 170"/>
                  <a:gd name="T6" fmla="*/ 100 w 268"/>
                  <a:gd name="T7" fmla="*/ 25 h 170"/>
                  <a:gd name="T8" fmla="*/ 100 w 268"/>
                  <a:gd name="T9" fmla="*/ 17 h 170"/>
                  <a:gd name="T10" fmla="*/ 100 w 268"/>
                  <a:gd name="T11" fmla="*/ 0 h 170"/>
                  <a:gd name="T12" fmla="*/ 84 w 268"/>
                  <a:gd name="T13" fmla="*/ 0 h 170"/>
                  <a:gd name="T14" fmla="*/ 0 w 268"/>
                  <a:gd name="T15" fmla="*/ 0 h 170"/>
                  <a:gd name="T16" fmla="*/ 0 w 268"/>
                  <a:gd name="T17" fmla="*/ 17 h 170"/>
                  <a:gd name="T18" fmla="*/ 84 w 268"/>
                  <a:gd name="T19" fmla="*/ 17 h 170"/>
                  <a:gd name="T20" fmla="*/ 84 w 268"/>
                  <a:gd name="T21" fmla="*/ 51 h 170"/>
                  <a:gd name="T22" fmla="*/ 0 w 268"/>
                  <a:gd name="T23" fmla="*/ 51 h 170"/>
                  <a:gd name="T24" fmla="*/ 0 w 268"/>
                  <a:gd name="T25" fmla="*/ 68 h 170"/>
                  <a:gd name="T26" fmla="*/ 84 w 268"/>
                  <a:gd name="T27" fmla="*/ 68 h 170"/>
                  <a:gd name="T28" fmla="*/ 100 w 268"/>
                  <a:gd name="T29" fmla="*/ 68 h 170"/>
                  <a:gd name="T30" fmla="*/ 100 w 268"/>
                  <a:gd name="T31" fmla="*/ 51 h 170"/>
                  <a:gd name="T32" fmla="*/ 100 w 268"/>
                  <a:gd name="T33" fmla="*/ 42 h 170"/>
                  <a:gd name="T34" fmla="*/ 168 w 268"/>
                  <a:gd name="T35" fmla="*/ 42 h 170"/>
                  <a:gd name="T36" fmla="*/ 168 w 268"/>
                  <a:gd name="T37" fmla="*/ 128 h 170"/>
                  <a:gd name="T38" fmla="*/ 100 w 268"/>
                  <a:gd name="T39" fmla="*/ 128 h 170"/>
                  <a:gd name="T40" fmla="*/ 100 w 268"/>
                  <a:gd name="T41" fmla="*/ 119 h 170"/>
                  <a:gd name="T42" fmla="*/ 100 w 268"/>
                  <a:gd name="T43" fmla="*/ 102 h 170"/>
                  <a:gd name="T44" fmla="*/ 84 w 268"/>
                  <a:gd name="T45" fmla="*/ 102 h 170"/>
                  <a:gd name="T46" fmla="*/ 0 w 268"/>
                  <a:gd name="T47" fmla="*/ 102 h 170"/>
                  <a:gd name="T48" fmla="*/ 0 w 268"/>
                  <a:gd name="T49" fmla="*/ 119 h 170"/>
                  <a:gd name="T50" fmla="*/ 84 w 268"/>
                  <a:gd name="T51" fmla="*/ 119 h 170"/>
                  <a:gd name="T52" fmla="*/ 84 w 268"/>
                  <a:gd name="T53" fmla="*/ 153 h 170"/>
                  <a:gd name="T54" fmla="*/ 0 w 268"/>
                  <a:gd name="T55" fmla="*/ 153 h 170"/>
                  <a:gd name="T56" fmla="*/ 0 w 268"/>
                  <a:gd name="T57" fmla="*/ 170 h 170"/>
                  <a:gd name="T58" fmla="*/ 84 w 268"/>
                  <a:gd name="T59" fmla="*/ 170 h 170"/>
                  <a:gd name="T60" fmla="*/ 100 w 268"/>
                  <a:gd name="T61" fmla="*/ 170 h 170"/>
                  <a:gd name="T62" fmla="*/ 100 w 268"/>
                  <a:gd name="T63" fmla="*/ 153 h 170"/>
                  <a:gd name="T64" fmla="*/ 100 w 268"/>
                  <a:gd name="T65" fmla="*/ 145 h 170"/>
                  <a:gd name="T66" fmla="*/ 168 w 268"/>
                  <a:gd name="T67" fmla="*/ 145 h 170"/>
                  <a:gd name="T68" fmla="*/ 184 w 268"/>
                  <a:gd name="T69" fmla="*/ 145 h 170"/>
                  <a:gd name="T70" fmla="*/ 184 w 268"/>
                  <a:gd name="T71" fmla="*/ 128 h 170"/>
                  <a:gd name="T72" fmla="*/ 184 w 268"/>
                  <a:gd name="T73" fmla="*/ 94 h 170"/>
                  <a:gd name="T74" fmla="*/ 268 w 268"/>
                  <a:gd name="T75" fmla="*/ 94 h 170"/>
                  <a:gd name="T76" fmla="*/ 268 w 268"/>
                  <a:gd name="T77" fmla="*/ 77 h 170"/>
                  <a:gd name="T78" fmla="*/ 184 w 268"/>
                  <a:gd name="T79" fmla="*/ 77 h 170"/>
                  <a:gd name="T80" fmla="*/ 184 w 268"/>
                  <a:gd name="T81" fmla="*/ 4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170">
                    <a:moveTo>
                      <a:pt x="184" y="42"/>
                    </a:moveTo>
                    <a:lnTo>
                      <a:pt x="184" y="25"/>
                    </a:lnTo>
                    <a:lnTo>
                      <a:pt x="168" y="25"/>
                    </a:lnTo>
                    <a:lnTo>
                      <a:pt x="100" y="25"/>
                    </a:lnTo>
                    <a:lnTo>
                      <a:pt x="100" y="17"/>
                    </a:lnTo>
                    <a:lnTo>
                      <a:pt x="100" y="0"/>
                    </a:lnTo>
                    <a:lnTo>
                      <a:pt x="84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84" y="17"/>
                    </a:lnTo>
                    <a:lnTo>
                      <a:pt x="84" y="51"/>
                    </a:lnTo>
                    <a:lnTo>
                      <a:pt x="0" y="51"/>
                    </a:lnTo>
                    <a:lnTo>
                      <a:pt x="0" y="68"/>
                    </a:lnTo>
                    <a:lnTo>
                      <a:pt x="84" y="68"/>
                    </a:lnTo>
                    <a:lnTo>
                      <a:pt x="100" y="68"/>
                    </a:lnTo>
                    <a:lnTo>
                      <a:pt x="100" y="51"/>
                    </a:lnTo>
                    <a:lnTo>
                      <a:pt x="100" y="42"/>
                    </a:lnTo>
                    <a:lnTo>
                      <a:pt x="168" y="42"/>
                    </a:lnTo>
                    <a:lnTo>
                      <a:pt x="168" y="128"/>
                    </a:lnTo>
                    <a:lnTo>
                      <a:pt x="100" y="128"/>
                    </a:lnTo>
                    <a:lnTo>
                      <a:pt x="100" y="119"/>
                    </a:lnTo>
                    <a:lnTo>
                      <a:pt x="100" y="102"/>
                    </a:lnTo>
                    <a:lnTo>
                      <a:pt x="84" y="102"/>
                    </a:lnTo>
                    <a:lnTo>
                      <a:pt x="0" y="102"/>
                    </a:lnTo>
                    <a:lnTo>
                      <a:pt x="0" y="119"/>
                    </a:lnTo>
                    <a:lnTo>
                      <a:pt x="84" y="119"/>
                    </a:lnTo>
                    <a:lnTo>
                      <a:pt x="84" y="153"/>
                    </a:lnTo>
                    <a:lnTo>
                      <a:pt x="0" y="153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100" y="170"/>
                    </a:lnTo>
                    <a:lnTo>
                      <a:pt x="100" y="153"/>
                    </a:lnTo>
                    <a:lnTo>
                      <a:pt x="100" y="145"/>
                    </a:lnTo>
                    <a:lnTo>
                      <a:pt x="168" y="145"/>
                    </a:lnTo>
                    <a:lnTo>
                      <a:pt x="184" y="145"/>
                    </a:lnTo>
                    <a:lnTo>
                      <a:pt x="184" y="128"/>
                    </a:lnTo>
                    <a:lnTo>
                      <a:pt x="184" y="94"/>
                    </a:lnTo>
                    <a:lnTo>
                      <a:pt x="268" y="94"/>
                    </a:lnTo>
                    <a:lnTo>
                      <a:pt x="268" y="77"/>
                    </a:lnTo>
                    <a:lnTo>
                      <a:pt x="184" y="77"/>
                    </a:lnTo>
                    <a:lnTo>
                      <a:pt x="18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3679992" y="2389036"/>
            <a:ext cx="4061825" cy="2239830"/>
            <a:chOff x="3607295" y="2342403"/>
            <a:chExt cx="3982543" cy="2196111"/>
          </a:xfrm>
        </p:grpSpPr>
        <p:sp>
          <p:nvSpPr>
            <p:cNvPr id="5" name="Rectangle 4"/>
            <p:cNvSpPr/>
            <p:nvPr/>
          </p:nvSpPr>
          <p:spPr bwMode="auto">
            <a:xfrm>
              <a:off x="3607295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Functions</a:t>
              </a: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3607295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Developer tooling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Bindings and triggers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Code (C#, JS, F#)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792572" y="2389036"/>
            <a:ext cx="4061825" cy="2239830"/>
            <a:chOff x="7639602" y="2342403"/>
            <a:chExt cx="3982543" cy="2196111"/>
          </a:xfrm>
        </p:grpSpPr>
        <p:sp>
          <p:nvSpPr>
            <p:cNvPr id="58" name="Rectangle 57"/>
            <p:cNvSpPr/>
            <p:nvPr/>
          </p:nvSpPr>
          <p:spPr bwMode="auto">
            <a:xfrm>
              <a:off x="7639602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ogic apps</a:t>
              </a: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7639602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Visual designer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100+ connectors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Functions orchestration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824500" y="2484291"/>
            <a:ext cx="621758" cy="415158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37" name="Freeform 18"/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42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11" name="Straight Connector 10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4" name="Straight Connector 63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/>
          <p:cNvGrpSpPr/>
          <p:nvPr/>
        </p:nvGrpSpPr>
        <p:grpSpPr>
          <a:xfrm>
            <a:off x="7928725" y="2525181"/>
            <a:ext cx="621758" cy="340484"/>
            <a:chOff x="7712710" y="2866532"/>
            <a:chExt cx="900970" cy="493385"/>
          </a:xfrm>
        </p:grpSpPr>
        <p:sp>
          <p:nvSpPr>
            <p:cNvPr id="2" name="Rectangle 1"/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Left Brace 9"/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1" name="Left Brace 60"/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2" name="Left Brace 61"/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436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590" y="93305"/>
            <a:ext cx="11702661" cy="822960"/>
          </a:xfrm>
        </p:spPr>
        <p:txBody>
          <a:bodyPr/>
          <a:lstStyle/>
          <a:p>
            <a:r>
              <a:rPr lang="en-US" dirty="0"/>
              <a:t>Private Cloud and Ed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66590" y="853967"/>
            <a:ext cx="11702661" cy="576079"/>
          </a:xfrm>
        </p:spPr>
        <p:txBody>
          <a:bodyPr/>
          <a:lstStyle/>
          <a:p>
            <a:r>
              <a:rPr lang="en-US" dirty="0"/>
              <a:t>Large, medium and small edg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6590" y="4516629"/>
            <a:ext cx="3748510" cy="504633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Environment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 Virtual Private Cloud SKU allowing for Functions to run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E provides network and resource isolation for large workloads. We are planning a v2.0 launch under the “isolated” brand name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43665" y="4525758"/>
            <a:ext cx="3748510" cy="647904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tack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on Azure Stack brings the power of Azure App Service to your own data centers. Azure Functions are available on Azure Stack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6" name="TextBox 485"/>
          <p:cNvSpPr txBox="1"/>
          <p:nvPr/>
        </p:nvSpPr>
        <p:spPr>
          <a:xfrm>
            <a:off x="8317531" y="4516629"/>
            <a:ext cx="3748510" cy="1554260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Runtime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available on Windows Containers with minimal manageability features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454318" y="1830714"/>
            <a:ext cx="3184573" cy="2695043"/>
            <a:chOff x="8479717" y="1781208"/>
            <a:chExt cx="3122414" cy="2642439"/>
          </a:xfrm>
        </p:grpSpPr>
        <p:grpSp>
          <p:nvGrpSpPr>
            <p:cNvPr id="487" name="Group 486"/>
            <p:cNvGrpSpPr/>
            <p:nvPr/>
          </p:nvGrpSpPr>
          <p:grpSpPr>
            <a:xfrm>
              <a:off x="10500275" y="3500764"/>
              <a:ext cx="1101856" cy="922883"/>
              <a:chOff x="4619625" y="3367088"/>
              <a:chExt cx="665163" cy="425450"/>
            </a:xfrm>
          </p:grpSpPr>
          <p:sp>
            <p:nvSpPr>
              <p:cNvPr id="488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08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637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8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9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0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1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3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4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5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6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7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0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1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2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3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4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5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6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7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8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1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4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5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6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7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8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9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0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1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2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3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4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5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8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1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2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3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4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5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9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0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1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4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7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8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9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2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5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6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7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0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3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4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5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6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7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8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9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0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3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6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7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8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1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4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5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6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9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2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3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4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5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6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7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8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9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0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3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6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7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8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9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0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1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2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3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4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5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6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7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0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3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4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5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6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7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8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9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1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2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3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6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9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0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1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2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3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4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5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6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7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0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3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4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5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8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1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2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3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6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9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0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1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2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3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4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5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6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7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8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9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2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3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4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5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6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09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0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1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2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3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4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6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7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8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9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0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1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2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3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4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5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6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7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8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9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0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1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2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3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4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5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6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7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8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9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0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1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2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3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4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5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6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7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8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9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0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1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2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3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4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5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6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7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8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9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0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1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2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3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4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5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6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7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8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9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0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1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2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3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4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5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6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7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8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9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0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1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2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3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4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5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6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38" name="Picture 837">
              <a:extLst/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79717" y="1781208"/>
              <a:ext cx="2558666" cy="2153449"/>
            </a:xfrm>
            <a:prstGeom prst="rect">
              <a:avLst/>
            </a:prstGeom>
          </p:spPr>
        </p:pic>
        <p:pic>
          <p:nvPicPr>
            <p:cNvPr id="840" name="Picture 839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44191" y="3893537"/>
              <a:ext cx="902856" cy="2907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841" name="Picture 840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05205" y="3413499"/>
              <a:ext cx="592087" cy="43238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5" name="Group 4"/>
          <p:cNvGrpSpPr/>
          <p:nvPr/>
        </p:nvGrpSpPr>
        <p:grpSpPr>
          <a:xfrm>
            <a:off x="4665745" y="1630716"/>
            <a:ext cx="3058461" cy="2880994"/>
            <a:chOff x="4573811" y="1598887"/>
            <a:chExt cx="2998763" cy="2824760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98324" y="1756625"/>
              <a:ext cx="2357163" cy="2357163"/>
            </a:xfrm>
            <a:prstGeom prst="rect">
              <a:avLst/>
            </a:prstGeom>
          </p:spPr>
        </p:pic>
        <p:grpSp>
          <p:nvGrpSpPr>
            <p:cNvPr id="135" name="Group 134"/>
            <p:cNvGrpSpPr/>
            <p:nvPr/>
          </p:nvGrpSpPr>
          <p:grpSpPr>
            <a:xfrm>
              <a:off x="6470718" y="3500764"/>
              <a:ext cx="1101856" cy="922883"/>
              <a:chOff x="4619625" y="3367088"/>
              <a:chExt cx="665163" cy="425450"/>
            </a:xfrm>
          </p:grpSpPr>
          <p:sp>
            <p:nvSpPr>
              <p:cNvPr id="136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7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8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0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2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3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5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6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7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8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9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0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1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2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3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4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5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56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285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0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0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1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2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3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4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6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7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8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9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0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1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2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3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4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5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6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7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8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9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0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1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2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3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4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5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6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7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8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9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0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1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2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3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4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5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6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7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8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9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2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3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4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5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9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0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1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2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4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6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7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8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4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7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8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9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0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1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2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3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4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5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6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7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8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9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0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1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2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3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4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5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6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7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8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9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0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1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2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3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4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5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6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7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8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9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0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4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6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7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8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0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1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2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3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5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7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8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9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0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1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2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3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4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5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7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9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0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1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3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4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5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6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7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8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9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0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1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2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3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5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6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7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8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9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0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1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2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3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4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5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6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7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8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9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0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1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2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3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4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5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6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1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2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3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6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7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8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9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0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1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2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3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4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5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6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7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8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9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0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1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2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3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4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42" name="Picture 841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3811" y="1598887"/>
              <a:ext cx="658635" cy="554327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796101" y="1645649"/>
            <a:ext cx="2615359" cy="2577018"/>
            <a:chOff x="779698" y="1613528"/>
            <a:chExt cx="2564310" cy="2526718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6845" y="1783083"/>
              <a:ext cx="2357163" cy="2357163"/>
            </a:xfrm>
            <a:prstGeom prst="rect">
              <a:avLst/>
            </a:prstGeom>
          </p:spPr>
        </p:pic>
        <p:pic>
          <p:nvPicPr>
            <p:cNvPr id="843" name="Picture 842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8" y="1613528"/>
              <a:ext cx="658635" cy="554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815204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468440" y="3990766"/>
            <a:ext cx="641166" cy="293840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9858" y="2746002"/>
            <a:ext cx="1139847" cy="2935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20135" y="4000360"/>
            <a:ext cx="1200295" cy="2913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29475" y="1970124"/>
            <a:ext cx="641166" cy="293839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49875" y="1970125"/>
            <a:ext cx="929222" cy="3380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29474" y="2263966"/>
            <a:ext cx="1207485" cy="290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 bindings in your cod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10010" y="1619177"/>
            <a:ext cx="7722028" cy="3779368"/>
            <a:chOff x="473122" y="1585009"/>
            <a:chExt cx="7571303" cy="3705598"/>
          </a:xfrm>
        </p:grpSpPr>
        <p:sp>
          <p:nvSpPr>
            <p:cNvPr id="14" name="TextBox 13"/>
            <p:cNvSpPr txBox="1"/>
            <p:nvPr/>
          </p:nvSpPr>
          <p:spPr>
            <a:xfrm>
              <a:off x="473122" y="1585009"/>
              <a:ext cx="8650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un.csx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73122" y="1933214"/>
              <a:ext cx="7571303" cy="3357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publ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at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oi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Run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yt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[] image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ring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filename, 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               Stream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TraceWrit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log)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log.Info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$"Processing image: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filename}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a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=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Resizer.ImageBuilder.Current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.Buil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image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ew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ResizeSettings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640, 400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itMode.Max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ull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als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922769" y="1619177"/>
            <a:ext cx="4265819" cy="4434064"/>
            <a:chOff x="7634342" y="1721659"/>
            <a:chExt cx="4182555" cy="4347516"/>
          </a:xfrm>
        </p:grpSpPr>
        <p:sp>
          <p:nvSpPr>
            <p:cNvPr id="20" name="TextBox 19"/>
            <p:cNvSpPr txBox="1"/>
            <p:nvPr/>
          </p:nvSpPr>
          <p:spPr>
            <a:xfrm>
              <a:off x="7634342" y="2100268"/>
              <a:ext cx="4182555" cy="3968907"/>
            </a:xfrm>
            <a:prstGeom prst="rect">
              <a:avLst/>
            </a:prstGeom>
            <a:solidFill>
              <a:schemeClr val="bg2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indings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[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mag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lobTrigger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in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lob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out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out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]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34342" y="1721659"/>
              <a:ext cx="14430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ction.json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9255924" y="2620923"/>
            <a:ext cx="794440" cy="25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73197" y="4250781"/>
            <a:ext cx="1213972" cy="256804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487165" y="4447135"/>
            <a:ext cx="927561" cy="239079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383543" y="3238207"/>
            <a:ext cx="979372" cy="241784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166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1" grpId="0" animBg="1"/>
      <p:bldP spid="22" grpId="0" animBg="1"/>
      <p:bldP spid="7" grpId="0" animBg="1"/>
      <p:bldP spid="9" grpId="0" animBg="1"/>
      <p:bldP spid="12" grpId="0" animBg="1"/>
      <p:bldP spid="8" grpId="0" animBg="1"/>
      <p:bldP spid="13" grpId="0" animBg="1"/>
      <p:bldP spid="17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iggers and Binding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9138" y="1283174"/>
            <a:ext cx="7132201" cy="522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1748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r>
              <a:rPr lang="en-US" dirty="0"/>
              <a:t>At the end of this session, you will: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tilize cloud services to modernize a traditional business application to drive customer value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se Azure API Management, Logic Apps, Web Apps, Azure Functions and Cognitive Services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Be able to demonstrate an end-to-end application modernization scenario to your customers.</a:t>
            </a:r>
          </a:p>
        </p:txBody>
      </p:sp>
    </p:spTree>
    <p:extLst>
      <p:ext uri="{BB962C8B-B14F-4D97-AF65-F5344CB8AC3E}">
        <p14:creationId xmlns:p14="http://schemas.microsoft.com/office/powerpoint/2010/main" val="213442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09DBD-C7CE-423F-9852-0A483613D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productivity – new binding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709D99-0E7F-4598-BCB0-7A09AFEC6F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807" y="1211262"/>
            <a:ext cx="619142" cy="61914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B2C1FC3-2B74-4750-8A3A-ADEC0C6EB576}"/>
              </a:ext>
            </a:extLst>
          </p:cNvPr>
          <p:cNvSpPr txBox="1"/>
          <p:nvPr/>
        </p:nvSpPr>
        <p:spPr>
          <a:xfrm>
            <a:off x="872264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Get a token to any AAD resource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Support for user or app identi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1C1A98B-BC84-40A8-843E-B75DC4E25D5F}"/>
              </a:ext>
            </a:extLst>
          </p:cNvPr>
          <p:cNvSpPr/>
          <p:nvPr/>
        </p:nvSpPr>
        <p:spPr>
          <a:xfrm>
            <a:off x="1484167" y="1306087"/>
            <a:ext cx="2072641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Active Directory access toke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5407831-1E43-476D-8993-13D9C8DA9B7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0867" y="1224342"/>
            <a:ext cx="621736" cy="62173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037FF37-7058-4C0F-8BE9-90E12C4DAE8C}"/>
              </a:ext>
            </a:extLst>
          </p:cNvPr>
          <p:cNvSpPr txBox="1"/>
          <p:nvPr/>
        </p:nvSpPr>
        <p:spPr>
          <a:xfrm>
            <a:off x="6291823" y="2004763"/>
            <a:ext cx="2712876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React to Graph events via </a:t>
            </a:r>
            <a:r>
              <a:rPr kumimoji="0" lang="en-US" sz="1836" b="0" i="0" u="none" strike="noStrike" kern="1200" cap="none" spc="0" normalizeH="0" baseline="0" noProof="0" dirty="0" err="1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webhooks</a:t>
            </a: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asy integration and binding to Graph SDK typ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9F6AD73-2E06-4A98-AA93-043FD3B84933}"/>
              </a:ext>
            </a:extLst>
          </p:cNvPr>
          <p:cNvSpPr/>
          <p:nvPr/>
        </p:nvSpPr>
        <p:spPr>
          <a:xfrm>
            <a:off x="6915200" y="1306087"/>
            <a:ext cx="2089500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icrosoft Graph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(Starting with Office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06E2E0-6D0A-40F3-A911-7367366A47CE}"/>
              </a:ext>
            </a:extLst>
          </p:cNvPr>
          <p:cNvSpPr txBox="1"/>
          <p:nvPr/>
        </p:nvSpPr>
        <p:spPr>
          <a:xfrm>
            <a:off x="9004699" y="2001924"/>
            <a:ext cx="2699938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xtensibility model allows us to easily onboard new partners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ventually will be open to all developers</a:t>
            </a: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E5DDB0C0-78D8-444D-89FE-52473C40D3E4}"/>
              </a:ext>
            </a:extLst>
          </p:cNvPr>
          <p:cNvSpPr>
            <a:spLocks noEditPoints="1"/>
          </p:cNvSpPr>
          <p:nvPr/>
        </p:nvSpPr>
        <p:spPr bwMode="auto">
          <a:xfrm>
            <a:off x="9087521" y="1211262"/>
            <a:ext cx="619142" cy="619142"/>
          </a:xfrm>
          <a:custGeom>
            <a:avLst/>
            <a:gdLst>
              <a:gd name="T0" fmla="*/ 134 w 268"/>
              <a:gd name="T1" fmla="*/ 0 h 268"/>
              <a:gd name="T2" fmla="*/ 40 w 268"/>
              <a:gd name="T3" fmla="*/ 59 h 268"/>
              <a:gd name="T4" fmla="*/ 0 w 268"/>
              <a:gd name="T5" fmla="*/ 59 h 268"/>
              <a:gd name="T6" fmla="*/ 0 w 268"/>
              <a:gd name="T7" fmla="*/ 268 h 268"/>
              <a:gd name="T8" fmla="*/ 268 w 268"/>
              <a:gd name="T9" fmla="*/ 268 h 268"/>
              <a:gd name="T10" fmla="*/ 268 w 268"/>
              <a:gd name="T11" fmla="*/ 59 h 268"/>
              <a:gd name="T12" fmla="*/ 228 w 268"/>
              <a:gd name="T13" fmla="*/ 59 h 268"/>
              <a:gd name="T14" fmla="*/ 134 w 268"/>
              <a:gd name="T15" fmla="*/ 0 h 268"/>
              <a:gd name="T16" fmla="*/ 50 w 268"/>
              <a:gd name="T17" fmla="*/ 84 h 268"/>
              <a:gd name="T18" fmla="*/ 126 w 268"/>
              <a:gd name="T19" fmla="*/ 138 h 268"/>
              <a:gd name="T20" fmla="*/ 126 w 268"/>
              <a:gd name="T21" fmla="*/ 212 h 268"/>
              <a:gd name="T22" fmla="*/ 50 w 268"/>
              <a:gd name="T23" fmla="*/ 159 h 268"/>
              <a:gd name="T24" fmla="*/ 50 w 268"/>
              <a:gd name="T25" fmla="*/ 84 h 268"/>
              <a:gd name="T26" fmla="*/ 142 w 268"/>
              <a:gd name="T27" fmla="*/ 138 h 268"/>
              <a:gd name="T28" fmla="*/ 218 w 268"/>
              <a:gd name="T29" fmla="*/ 84 h 268"/>
              <a:gd name="T30" fmla="*/ 218 w 268"/>
              <a:gd name="T31" fmla="*/ 159 h 268"/>
              <a:gd name="T32" fmla="*/ 142 w 268"/>
              <a:gd name="T33" fmla="*/ 212 h 268"/>
              <a:gd name="T34" fmla="*/ 142 w 268"/>
              <a:gd name="T35" fmla="*/ 138 h 268"/>
              <a:gd name="T36" fmla="*/ 212 w 268"/>
              <a:gd name="T37" fmla="*/ 69 h 268"/>
              <a:gd name="T38" fmla="*/ 134 w 268"/>
              <a:gd name="T39" fmla="*/ 124 h 268"/>
              <a:gd name="T40" fmla="*/ 56 w 268"/>
              <a:gd name="T41" fmla="*/ 69 h 268"/>
              <a:gd name="T42" fmla="*/ 134 w 268"/>
              <a:gd name="T43" fmla="*/ 19 h 268"/>
              <a:gd name="T44" fmla="*/ 212 w 268"/>
              <a:gd name="T45" fmla="*/ 69 h 268"/>
              <a:gd name="T46" fmla="*/ 251 w 268"/>
              <a:gd name="T47" fmla="*/ 251 h 268"/>
              <a:gd name="T48" fmla="*/ 17 w 268"/>
              <a:gd name="T49" fmla="*/ 251 h 268"/>
              <a:gd name="T50" fmla="*/ 17 w 268"/>
              <a:gd name="T51" fmla="*/ 75 h 268"/>
              <a:gd name="T52" fmla="*/ 33 w 268"/>
              <a:gd name="T53" fmla="*/ 75 h 268"/>
              <a:gd name="T54" fmla="*/ 33 w 268"/>
              <a:gd name="T55" fmla="*/ 168 h 268"/>
              <a:gd name="T56" fmla="*/ 134 w 268"/>
              <a:gd name="T57" fmla="*/ 237 h 268"/>
              <a:gd name="T58" fmla="*/ 235 w 268"/>
              <a:gd name="T59" fmla="*/ 168 h 268"/>
              <a:gd name="T60" fmla="*/ 235 w 268"/>
              <a:gd name="T61" fmla="*/ 75 h 268"/>
              <a:gd name="T62" fmla="*/ 251 w 268"/>
              <a:gd name="T63" fmla="*/ 75 h 268"/>
              <a:gd name="T64" fmla="*/ 251 w 268"/>
              <a:gd name="T65" fmla="*/ 25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68" h="268">
                <a:moveTo>
                  <a:pt x="134" y="0"/>
                </a:moveTo>
                <a:lnTo>
                  <a:pt x="40" y="59"/>
                </a:lnTo>
                <a:lnTo>
                  <a:pt x="0" y="59"/>
                </a:lnTo>
                <a:lnTo>
                  <a:pt x="0" y="268"/>
                </a:lnTo>
                <a:lnTo>
                  <a:pt x="268" y="268"/>
                </a:lnTo>
                <a:lnTo>
                  <a:pt x="268" y="59"/>
                </a:lnTo>
                <a:lnTo>
                  <a:pt x="228" y="59"/>
                </a:lnTo>
                <a:lnTo>
                  <a:pt x="134" y="0"/>
                </a:lnTo>
                <a:close/>
                <a:moveTo>
                  <a:pt x="50" y="84"/>
                </a:moveTo>
                <a:lnTo>
                  <a:pt x="126" y="138"/>
                </a:lnTo>
                <a:lnTo>
                  <a:pt x="126" y="212"/>
                </a:lnTo>
                <a:lnTo>
                  <a:pt x="50" y="159"/>
                </a:lnTo>
                <a:lnTo>
                  <a:pt x="50" y="84"/>
                </a:lnTo>
                <a:close/>
                <a:moveTo>
                  <a:pt x="142" y="138"/>
                </a:moveTo>
                <a:lnTo>
                  <a:pt x="218" y="84"/>
                </a:lnTo>
                <a:lnTo>
                  <a:pt x="218" y="159"/>
                </a:lnTo>
                <a:lnTo>
                  <a:pt x="142" y="212"/>
                </a:lnTo>
                <a:lnTo>
                  <a:pt x="142" y="138"/>
                </a:lnTo>
                <a:close/>
                <a:moveTo>
                  <a:pt x="212" y="69"/>
                </a:moveTo>
                <a:lnTo>
                  <a:pt x="134" y="124"/>
                </a:lnTo>
                <a:lnTo>
                  <a:pt x="56" y="69"/>
                </a:lnTo>
                <a:lnTo>
                  <a:pt x="134" y="19"/>
                </a:lnTo>
                <a:lnTo>
                  <a:pt x="212" y="69"/>
                </a:lnTo>
                <a:close/>
                <a:moveTo>
                  <a:pt x="251" y="251"/>
                </a:moveTo>
                <a:lnTo>
                  <a:pt x="17" y="251"/>
                </a:lnTo>
                <a:lnTo>
                  <a:pt x="17" y="75"/>
                </a:lnTo>
                <a:lnTo>
                  <a:pt x="33" y="75"/>
                </a:lnTo>
                <a:lnTo>
                  <a:pt x="33" y="168"/>
                </a:lnTo>
                <a:lnTo>
                  <a:pt x="134" y="237"/>
                </a:lnTo>
                <a:lnTo>
                  <a:pt x="235" y="168"/>
                </a:lnTo>
                <a:lnTo>
                  <a:pt x="235" y="75"/>
                </a:lnTo>
                <a:lnTo>
                  <a:pt x="251" y="75"/>
                </a:lnTo>
                <a:lnTo>
                  <a:pt x="251" y="2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12514A8-3C72-4333-9A06-3E3355533D6C}"/>
              </a:ext>
            </a:extLst>
          </p:cNvPr>
          <p:cNvSpPr/>
          <p:nvPr/>
        </p:nvSpPr>
        <p:spPr>
          <a:xfrm>
            <a:off x="9714605" y="1418540"/>
            <a:ext cx="1987874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Other Service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4A349F2-ABF5-4645-AABF-DC2B94CF568C}"/>
              </a:ext>
            </a:extLst>
          </p:cNvPr>
          <p:cNvGrpSpPr/>
          <p:nvPr/>
        </p:nvGrpSpPr>
        <p:grpSpPr>
          <a:xfrm>
            <a:off x="6492941" y="4442048"/>
            <a:ext cx="2301285" cy="397912"/>
            <a:chOff x="4954304" y="5368962"/>
            <a:chExt cx="2256366" cy="390145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EE4E51E5-490B-471F-9304-82EC6A284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4304" y="5368962"/>
              <a:ext cx="390145" cy="390145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6E48F44-8484-48AA-AEFF-B884F67F2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86251" y="5368962"/>
              <a:ext cx="390145" cy="390145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386837A1-BF45-4E2C-BBF2-39F179FA7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20525" y="5368962"/>
              <a:ext cx="390145" cy="390145"/>
            </a:xfrm>
            <a:prstGeom prst="rect">
              <a:avLst/>
            </a:prstGeom>
          </p:spPr>
        </p:pic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88B62C39-5AD8-4711-A923-DBF96063BCF5}"/>
                </a:ext>
              </a:extLst>
            </p:cNvPr>
            <p:cNvCxnSpPr>
              <a:cxnSpLocks/>
              <a:stCxn id="58" idx="3"/>
              <a:endCxn id="59" idx="1"/>
            </p:cNvCxnSpPr>
            <p:nvPr/>
          </p:nvCxnSpPr>
          <p:spPr>
            <a:xfrm>
              <a:off x="5344449" y="5564035"/>
              <a:ext cx="54180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322D21BF-15D9-45F2-A0AB-E9C4B6A48EF0}"/>
                </a:ext>
              </a:extLst>
            </p:cNvPr>
            <p:cNvCxnSpPr>
              <a:cxnSpLocks/>
              <a:stCxn id="59" idx="3"/>
              <a:endCxn id="61" idx="1"/>
            </p:cNvCxnSpPr>
            <p:nvPr/>
          </p:nvCxnSpPr>
          <p:spPr>
            <a:xfrm>
              <a:off x="6276396" y="5564035"/>
              <a:ext cx="54412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65721EE-9CD2-4A97-8E01-82B1999E63F3}"/>
              </a:ext>
            </a:extLst>
          </p:cNvPr>
          <p:cNvGrpSpPr/>
          <p:nvPr/>
        </p:nvGrpSpPr>
        <p:grpSpPr>
          <a:xfrm>
            <a:off x="1055819" y="4442047"/>
            <a:ext cx="2299973" cy="397913"/>
            <a:chOff x="1031365" y="4860956"/>
            <a:chExt cx="2255079" cy="39014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9CC47E13-4024-4B82-9422-EF5ACD93F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96299" y="4860956"/>
              <a:ext cx="390145" cy="390145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F7964ABE-3ADB-447B-85C3-CF9B9A3E0989}"/>
                </a:ext>
              </a:extLst>
            </p:cNvPr>
            <p:cNvGrpSpPr/>
            <p:nvPr/>
          </p:nvGrpSpPr>
          <p:grpSpPr>
            <a:xfrm>
              <a:off x="1031365" y="4860956"/>
              <a:ext cx="1864934" cy="390146"/>
              <a:chOff x="1317600" y="5368960"/>
              <a:chExt cx="1864934" cy="390146"/>
            </a:xfrm>
          </p:grpSpPr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6E8AC71B-B5BF-4CBD-9B82-90AD9B397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7600" y="5368960"/>
                <a:ext cx="390145" cy="390145"/>
              </a:xfrm>
              <a:prstGeom prst="rect">
                <a:avLst/>
              </a:prstGeom>
            </p:spPr>
          </p:pic>
          <p:pic>
            <p:nvPicPr>
              <p:cNvPr id="78" name="Graphic 77">
                <a:extLst>
                  <a:ext uri="{FF2B5EF4-FFF2-40B4-BE49-F238E27FC236}">
                    <a16:creationId xmlns:a16="http://schemas.microsoft.com/office/drawing/2014/main" id="{82F8EF70-7DEB-4486-8652-9989FA27F8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248260" y="5368961"/>
                <a:ext cx="390145" cy="390145"/>
              </a:xfrm>
              <a:prstGeom prst="rect">
                <a:avLst/>
              </a:prstGeom>
            </p:spPr>
          </p:pic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2F921EBA-06D4-4E88-84AB-9CB43151DA2A}"/>
                  </a:ext>
                </a:extLst>
              </p:cNvPr>
              <p:cNvCxnSpPr>
                <a:cxnSpLocks/>
                <a:stCxn id="89" idx="3"/>
                <a:endCxn id="78" idx="1"/>
              </p:cNvCxnSpPr>
              <p:nvPr/>
            </p:nvCxnSpPr>
            <p:spPr>
              <a:xfrm>
                <a:off x="1707745" y="5564033"/>
                <a:ext cx="540515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Arrow Connector 80">
                <a:extLst>
                  <a:ext uri="{FF2B5EF4-FFF2-40B4-BE49-F238E27FC236}">
                    <a16:creationId xmlns:a16="http://schemas.microsoft.com/office/drawing/2014/main" id="{4CB6A75C-F08D-4EE2-A7BC-DFEBC6449B99}"/>
                  </a:ext>
                </a:extLst>
              </p:cNvPr>
              <p:cNvCxnSpPr>
                <a:cxnSpLocks/>
                <a:stCxn id="78" idx="3"/>
                <a:endCxn id="96" idx="1"/>
              </p:cNvCxnSpPr>
              <p:nvPr/>
            </p:nvCxnSpPr>
            <p:spPr>
              <a:xfrm flipV="1">
                <a:off x="2638405" y="5564033"/>
                <a:ext cx="544129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8163B409-EA9C-41F8-AF4A-8BDAB0886B82}"/>
              </a:ext>
            </a:extLst>
          </p:cNvPr>
          <p:cNvGrpSpPr/>
          <p:nvPr/>
        </p:nvGrpSpPr>
        <p:grpSpPr>
          <a:xfrm>
            <a:off x="9198140" y="4442048"/>
            <a:ext cx="2307545" cy="397914"/>
            <a:chOff x="8619446" y="5368959"/>
            <a:chExt cx="2262503" cy="390147"/>
          </a:xfrm>
        </p:grpSpPr>
        <p:pic>
          <p:nvPicPr>
            <p:cNvPr id="103" name="Graphic 102" descr="Help">
              <a:extLst>
                <a:ext uri="{FF2B5EF4-FFF2-40B4-BE49-F238E27FC236}">
                  <a16:creationId xmlns:a16="http://schemas.microsoft.com/office/drawing/2014/main" id="{2E8D64F0-1726-47D6-B1AB-66BEFD79E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491803" y="5368959"/>
              <a:ext cx="390146" cy="390146"/>
            </a:xfrm>
            <a:prstGeom prst="rect">
              <a:avLst/>
            </a:prstGeom>
          </p:spPr>
        </p:pic>
        <p:pic>
          <p:nvPicPr>
            <p:cNvPr id="102" name="Graphic 101" descr="Help">
              <a:extLst>
                <a:ext uri="{FF2B5EF4-FFF2-40B4-BE49-F238E27FC236}">
                  <a16:creationId xmlns:a16="http://schemas.microsoft.com/office/drawing/2014/main" id="{3EDC10F2-2177-43A3-9141-E546B1FC4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619446" y="5368960"/>
              <a:ext cx="390146" cy="390146"/>
            </a:xfrm>
            <a:prstGeom prst="rect">
              <a:avLst/>
            </a:prstGeom>
          </p:spPr>
        </p:pic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42B987D6-9AD8-4E42-954A-580378EC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51392" y="5368961"/>
              <a:ext cx="390145" cy="390145"/>
            </a:xfrm>
            <a:prstGeom prst="rect">
              <a:avLst/>
            </a:prstGeom>
          </p:spPr>
        </p:pic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B6CA6008-9ED1-4D28-934E-FC7C083EA627}"/>
                </a:ext>
              </a:extLst>
            </p:cNvPr>
            <p:cNvCxnSpPr>
              <a:cxnSpLocks/>
              <a:stCxn id="102" idx="3"/>
              <a:endCxn id="84" idx="1"/>
            </p:cNvCxnSpPr>
            <p:nvPr/>
          </p:nvCxnSpPr>
          <p:spPr>
            <a:xfrm>
              <a:off x="9009592" y="5564033"/>
              <a:ext cx="54180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AC117F58-D144-429D-AB1C-090DA7EF6F90}"/>
                </a:ext>
              </a:extLst>
            </p:cNvPr>
            <p:cNvCxnSpPr>
              <a:cxnSpLocks/>
              <a:stCxn id="84" idx="3"/>
              <a:endCxn id="103" idx="1"/>
            </p:cNvCxnSpPr>
            <p:nvPr/>
          </p:nvCxnSpPr>
          <p:spPr>
            <a:xfrm flipV="1">
              <a:off x="9941537" y="5564032"/>
              <a:ext cx="550266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558D13A-40CD-4EB2-8EC4-581ADB220E3D}"/>
              </a:ext>
            </a:extLst>
          </p:cNvPr>
          <p:cNvGrpSpPr/>
          <p:nvPr/>
        </p:nvGrpSpPr>
        <p:grpSpPr>
          <a:xfrm>
            <a:off x="3746940" y="4442047"/>
            <a:ext cx="2281355" cy="397914"/>
            <a:chOff x="3669958" y="4860955"/>
            <a:chExt cx="2236825" cy="390147"/>
          </a:xfrm>
        </p:grpSpPr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C0D4D068-8F8D-4552-9F8B-060D78BD3B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t="-14685"/>
            <a:stretch/>
          </p:blipFill>
          <p:spPr>
            <a:xfrm>
              <a:off x="3669958" y="4860955"/>
              <a:ext cx="471029" cy="390145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5E9916E2-0DBD-4A27-9C33-AD904B060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duotone>
                <a:prstClr val="black"/>
                <a:srgbClr val="7030A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3464" y="4862283"/>
              <a:ext cx="293319" cy="388818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DCCA1E4E-24D1-46C6-BD24-17D9B4B0E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5774" y="4860957"/>
              <a:ext cx="390145" cy="390145"/>
            </a:xfrm>
            <a:prstGeom prst="rect">
              <a:avLst/>
            </a:prstGeom>
          </p:spPr>
        </p:pic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786B6C33-8204-4175-9F68-1B4E7F82B2EB}"/>
                </a:ext>
              </a:extLst>
            </p:cNvPr>
            <p:cNvCxnSpPr>
              <a:cxnSpLocks/>
              <a:stCxn id="76" idx="3"/>
              <a:endCxn id="57" idx="1"/>
            </p:cNvCxnSpPr>
            <p:nvPr/>
          </p:nvCxnSpPr>
          <p:spPr>
            <a:xfrm>
              <a:off x="4140987" y="5056028"/>
              <a:ext cx="494787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25D8E978-395B-48E6-9CFB-FC0101BDDE0A}"/>
                </a:ext>
              </a:extLst>
            </p:cNvPr>
            <p:cNvCxnSpPr>
              <a:cxnSpLocks/>
              <a:stCxn id="57" idx="3"/>
              <a:endCxn id="74" idx="1"/>
            </p:cNvCxnSpPr>
            <p:nvPr/>
          </p:nvCxnSpPr>
          <p:spPr>
            <a:xfrm>
              <a:off x="5025919" y="5056030"/>
              <a:ext cx="587545" cy="6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CBC3B2-E061-41D7-828A-093E4723E99D}"/>
              </a:ext>
            </a:extLst>
          </p:cNvPr>
          <p:cNvGrpSpPr/>
          <p:nvPr/>
        </p:nvGrpSpPr>
        <p:grpSpPr>
          <a:xfrm>
            <a:off x="858807" y="1310828"/>
            <a:ext cx="10845830" cy="5047977"/>
            <a:chOff x="838200" y="1826505"/>
            <a:chExt cx="10634132" cy="5047977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B20F8570-DEC0-4921-B793-D2AF33459B43}"/>
                </a:ext>
              </a:extLst>
            </p:cNvPr>
            <p:cNvCxnSpPr>
              <a:cxnSpLocks/>
            </p:cNvCxnSpPr>
            <p:nvPr/>
          </p:nvCxnSpPr>
          <p:spPr>
            <a:xfrm>
              <a:off x="838200" y="2406832"/>
              <a:ext cx="10629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5CCEE2A-B158-4371-94C6-EC4D49705624}"/>
                </a:ext>
              </a:extLst>
            </p:cNvPr>
            <p:cNvGrpSpPr/>
            <p:nvPr/>
          </p:nvGrpSpPr>
          <p:grpSpPr>
            <a:xfrm>
              <a:off x="838200" y="1826505"/>
              <a:ext cx="10634132" cy="5047977"/>
              <a:chOff x="838200" y="1826505"/>
              <a:chExt cx="10634132" cy="5047977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CD25CB8F-CD7C-48E4-8E02-15DD5BABFA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EFD19192-D0C8-4344-AFB9-8FB07FA0F7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3799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607B299E-EC23-4A8B-A2CC-9DC8DDCB20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96733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264247C-F47F-46B3-9F6B-659305B5B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55266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D61A02BB-62AD-4547-AD95-AF448DB40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72332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1AFE61DB-B6B7-4718-AD66-B525C4DFBD14}"/>
              </a:ext>
            </a:extLst>
          </p:cNvPr>
          <p:cNvSpPr txBox="1"/>
          <p:nvPr/>
        </p:nvSpPr>
        <p:spPr>
          <a:xfrm>
            <a:off x="3588039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Query support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ull capability of the CDS SDK (for C#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F9E9472-609B-4E55-8996-667CE0AA3A33}"/>
              </a:ext>
            </a:extLst>
          </p:cNvPr>
          <p:cNvSpPr/>
          <p:nvPr/>
        </p:nvSpPr>
        <p:spPr>
          <a:xfrm>
            <a:off x="4212191" y="1411479"/>
            <a:ext cx="2072641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on Data Servic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F193C99-A216-4B31-8491-520E19D35A1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6920" y="1263000"/>
            <a:ext cx="469029" cy="62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14596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Logic App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0" y="2150376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21167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280" y="1363662"/>
            <a:ext cx="5410198" cy="2862322"/>
          </a:xfrm>
        </p:spPr>
        <p:txBody>
          <a:bodyPr/>
          <a:lstStyle/>
          <a:p>
            <a:r>
              <a:rPr lang="en-US" sz="3000" dirty="0">
                <a:solidFill>
                  <a:srgbClr val="0070C0"/>
                </a:solidFill>
              </a:rPr>
              <a:t>Serverless</a:t>
            </a:r>
            <a:r>
              <a:rPr lang="en-US" sz="3000">
                <a:solidFill>
                  <a:srgbClr val="0070C0"/>
                </a:solidFill>
              </a:rPr>
              <a:t> workflow in </a:t>
            </a:r>
            <a:r>
              <a:rPr lang="en-US" sz="3000" dirty="0">
                <a:solidFill>
                  <a:srgbClr val="0070C0"/>
                </a:solidFill>
              </a:rPr>
              <a:t>the cloud</a:t>
            </a:r>
          </a:p>
          <a:p>
            <a:r>
              <a:rPr lang="en-US" sz="3000" dirty="0">
                <a:solidFill>
                  <a:srgbClr val="0070C0"/>
                </a:solidFill>
              </a:rPr>
              <a:t>Powerful </a:t>
            </a:r>
            <a:r>
              <a:rPr lang="en-US" sz="3000">
                <a:solidFill>
                  <a:srgbClr val="0070C0"/>
                </a:solidFill>
              </a:rPr>
              <a:t>control flow</a:t>
            </a:r>
            <a:endParaRPr lang="en-US" sz="3000" dirty="0">
              <a:solidFill>
                <a:srgbClr val="0070C0"/>
              </a:solidFill>
            </a:endParaRPr>
          </a:p>
          <a:p>
            <a:r>
              <a:rPr lang="en-US" sz="3000" dirty="0">
                <a:solidFill>
                  <a:srgbClr val="0070C0"/>
                </a:solidFill>
              </a:rPr>
              <a:t>Declarative definition to persist in source control and  drive deploym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Workflow Designer</a:t>
            </a:r>
          </a:p>
        </p:txBody>
      </p:sp>
      <p:pic>
        <p:nvPicPr>
          <p:cNvPr id="7" name="Picture 6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2437" y="1363662"/>
            <a:ext cx="639247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07885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884" y="500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0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5482" y="500"/>
            <a:ext cx="3657080" cy="6993533"/>
          </a:xfrm>
          <a:prstGeom prst="rect">
            <a:avLst/>
          </a:prstGeom>
        </p:spPr>
        <p:txBody>
          <a:bodyPr vert="horz" wrap="square" lIns="149217" tIns="93260" rIns="149217" bIns="93260" rtlCol="0" anchor="ctr" anchorCtr="0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connectors—Over 150 and growing</a:t>
            </a:r>
            <a:endParaRPr kumimoji="0" lang="en-NZ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1028" name="Picture 4" descr="Image result for github logo 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7127" y="773927"/>
            <a:ext cx="2304992" cy="76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thumb/4/47/Dropbox_logo_%28September_2013%29.svg/2000px-Dropbox_logo_%28September_2013%29.svg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2874" y="440076"/>
            <a:ext cx="3316935" cy="1265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4904359" y="3898855"/>
            <a:ext cx="6996006" cy="1323387"/>
            <a:chOff x="4950923" y="3490665"/>
            <a:chExt cx="6859452" cy="1297556"/>
          </a:xfrm>
        </p:grpSpPr>
        <p:pic>
          <p:nvPicPr>
            <p:cNvPr id="1032" name="Picture 8" descr="Image result for slack logo 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705" y="4001011"/>
              <a:ext cx="1910071" cy="546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Image result for wordpress logo 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0923" y="3490665"/>
              <a:ext cx="1964984" cy="1220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Image result for salesforce logo 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1575" y="3507423"/>
              <a:ext cx="1828800" cy="1280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facebook logo 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6319" y="2511030"/>
            <a:ext cx="2642571" cy="555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twitter logo 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7143" y="2163631"/>
            <a:ext cx="2917392" cy="125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mage result for box logo  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1684" y="2363793"/>
            <a:ext cx="1405934" cy="77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206027" y="5813641"/>
            <a:ext cx="4718235" cy="82007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72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….and more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28665E-2B0D-4775-8EDB-F3E91C0FB6A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3795" y="540276"/>
            <a:ext cx="1482698" cy="111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0729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0.04491 L -1.875E-6 -3.7037E-7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493648" y="3267311"/>
            <a:ext cx="5772550" cy="3587226"/>
            <a:chOff x="5361534" y="2697337"/>
            <a:chExt cx="5951704" cy="3616693"/>
          </a:xfrm>
        </p:grpSpPr>
        <p:cxnSp>
          <p:nvCxnSpPr>
            <p:cNvPr id="76" name="Straight Connector 75"/>
            <p:cNvCxnSpPr/>
            <p:nvPr/>
          </p:nvCxnSpPr>
          <p:spPr>
            <a:xfrm flipV="1">
              <a:off x="8466561" y="2697337"/>
              <a:ext cx="0" cy="782505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3" name="Group 122"/>
            <p:cNvGrpSpPr/>
            <p:nvPr/>
          </p:nvGrpSpPr>
          <p:grpSpPr>
            <a:xfrm>
              <a:off x="7698276" y="3664846"/>
              <a:ext cx="1659168" cy="892970"/>
              <a:chOff x="7649759" y="3473718"/>
              <a:chExt cx="1692678" cy="911007"/>
            </a:xfrm>
          </p:grpSpPr>
          <p:sp>
            <p:nvSpPr>
              <p:cNvPr id="124" name="TextBox 123"/>
              <p:cNvSpPr txBox="1"/>
              <p:nvPr/>
            </p:nvSpPr>
            <p:spPr>
              <a:xfrm>
                <a:off x="7649759" y="3978710"/>
                <a:ext cx="1692678" cy="4060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7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n-premises data gateway</a:t>
                </a:r>
              </a:p>
            </p:txBody>
          </p:sp>
          <p:grpSp>
            <p:nvGrpSpPr>
              <p:cNvPr id="126" name="Group 125"/>
              <p:cNvGrpSpPr/>
              <p:nvPr/>
            </p:nvGrpSpPr>
            <p:grpSpPr>
              <a:xfrm>
                <a:off x="8179408" y="3473718"/>
                <a:ext cx="556534" cy="447498"/>
                <a:chOff x="8100034" y="3465305"/>
                <a:chExt cx="556534" cy="447498"/>
              </a:xfrm>
            </p:grpSpPr>
            <p:sp>
              <p:nvSpPr>
                <p:cNvPr id="127" name="Freeform 128"/>
                <p:cNvSpPr>
                  <a:spLocks noChangeAspect="1"/>
                </p:cNvSpPr>
                <p:nvPr/>
              </p:nvSpPr>
              <p:spPr bwMode="white">
                <a:xfrm>
                  <a:off x="8100034" y="3465305"/>
                  <a:ext cx="556534" cy="307438"/>
                </a:xfrm>
                <a:custGeom>
                  <a:avLst/>
                  <a:gdLst>
                    <a:gd name="T0" fmla="*/ 396 w 509"/>
                    <a:gd name="T1" fmla="*/ 281 h 281"/>
                    <a:gd name="T2" fmla="*/ 57 w 509"/>
                    <a:gd name="T3" fmla="*/ 281 h 281"/>
                    <a:gd name="T4" fmla="*/ 0 w 509"/>
                    <a:gd name="T5" fmla="*/ 223 h 281"/>
                    <a:gd name="T6" fmla="*/ 43 w 509"/>
                    <a:gd name="T7" fmla="*/ 168 h 281"/>
                    <a:gd name="T8" fmla="*/ 110 w 509"/>
                    <a:gd name="T9" fmla="*/ 116 h 281"/>
                    <a:gd name="T10" fmla="*/ 232 w 509"/>
                    <a:gd name="T11" fmla="*/ 0 h 281"/>
                    <a:gd name="T12" fmla="*/ 343 w 509"/>
                    <a:gd name="T13" fmla="*/ 70 h 281"/>
                    <a:gd name="T14" fmla="*/ 396 w 509"/>
                    <a:gd name="T15" fmla="*/ 56 h 281"/>
                    <a:gd name="T16" fmla="*/ 509 w 509"/>
                    <a:gd name="T17" fmla="*/ 169 h 281"/>
                    <a:gd name="T18" fmla="*/ 396 w 509"/>
                    <a:gd name="T19" fmla="*/ 281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09" h="281">
                      <a:moveTo>
                        <a:pt x="396" y="281"/>
                      </a:moveTo>
                      <a:cubicBezTo>
                        <a:pt x="57" y="281"/>
                        <a:pt x="57" y="281"/>
                        <a:pt x="57" y="281"/>
                      </a:cubicBezTo>
                      <a:cubicBezTo>
                        <a:pt x="26" y="281"/>
                        <a:pt x="0" y="255"/>
                        <a:pt x="0" y="223"/>
                      </a:cubicBezTo>
                      <a:cubicBezTo>
                        <a:pt x="0" y="196"/>
                        <a:pt x="18" y="174"/>
                        <a:pt x="43" y="168"/>
                      </a:cubicBezTo>
                      <a:cubicBezTo>
                        <a:pt x="55" y="140"/>
                        <a:pt x="80" y="120"/>
                        <a:pt x="110" y="116"/>
                      </a:cubicBezTo>
                      <a:cubicBezTo>
                        <a:pt x="113" y="52"/>
                        <a:pt x="167" y="0"/>
                        <a:pt x="232" y="0"/>
                      </a:cubicBezTo>
                      <a:cubicBezTo>
                        <a:pt x="280" y="0"/>
                        <a:pt x="323" y="28"/>
                        <a:pt x="343" y="70"/>
                      </a:cubicBezTo>
                      <a:cubicBezTo>
                        <a:pt x="359" y="61"/>
                        <a:pt x="377" y="56"/>
                        <a:pt x="396" y="56"/>
                      </a:cubicBezTo>
                      <a:cubicBezTo>
                        <a:pt x="458" y="56"/>
                        <a:pt x="509" y="107"/>
                        <a:pt x="509" y="169"/>
                      </a:cubicBezTo>
                      <a:cubicBezTo>
                        <a:pt x="509" y="230"/>
                        <a:pt x="458" y="281"/>
                        <a:pt x="396" y="281"/>
                      </a:cubicBezTo>
                      <a:close/>
                    </a:path>
                  </a:pathLst>
                </a:custGeom>
                <a:noFill/>
                <a:ln w="34925">
                  <a:solidFill>
                    <a:schemeClr val="accent1"/>
                  </a:solidFill>
                </a:ln>
                <a:extLst/>
              </p:spPr>
              <p:txBody>
                <a:bodyPr vert="horz" wrap="square" lIns="91401" tIns="45700" rIns="91401" bIns="4570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395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127"/>
                <p:cNvSpPr/>
                <p:nvPr/>
              </p:nvSpPr>
              <p:spPr bwMode="auto">
                <a:xfrm>
                  <a:off x="8371887" y="3733781"/>
                  <a:ext cx="83932" cy="762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053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129" name="Straight Arrow Connector 128"/>
                <p:cNvCxnSpPr/>
                <p:nvPr/>
              </p:nvCxnSpPr>
              <p:spPr>
                <a:xfrm>
                  <a:off x="8378495" y="3632682"/>
                  <a:ext cx="0" cy="280121"/>
                </a:xfrm>
                <a:prstGeom prst="straightConnector1">
                  <a:avLst/>
                </a:prstGeom>
                <a:ln w="41275">
                  <a:solidFill>
                    <a:schemeClr val="accent1"/>
                  </a:solidFill>
                  <a:headEnd type="triangle" w="med" len="sm"/>
                  <a:tailEnd type="triangle" w="med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" name="Group 24"/>
            <p:cNvGrpSpPr/>
            <p:nvPr/>
          </p:nvGrpSpPr>
          <p:grpSpPr>
            <a:xfrm>
              <a:off x="5361534" y="4629354"/>
              <a:ext cx="5951704" cy="1684676"/>
              <a:chOff x="5608637" y="4721857"/>
              <a:chExt cx="6071909" cy="1718700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1218832" y="6149970"/>
                <a:ext cx="461714" cy="2905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izTalk</a:t>
                </a:r>
                <a:b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server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5608637" y="4721857"/>
                <a:ext cx="5890118" cy="1469717"/>
                <a:chOff x="5608637" y="4721857"/>
                <a:chExt cx="5890118" cy="1469717"/>
              </a:xfrm>
            </p:grpSpPr>
            <p:grpSp>
              <p:nvGrpSpPr>
                <p:cNvPr id="162" name="Group 161"/>
                <p:cNvGrpSpPr/>
                <p:nvPr/>
              </p:nvGrpSpPr>
              <p:grpSpPr>
                <a:xfrm>
                  <a:off x="6388013" y="4721857"/>
                  <a:ext cx="4972142" cy="877948"/>
                  <a:chOff x="6184899" y="4457700"/>
                  <a:chExt cx="4972142" cy="877948"/>
                </a:xfrm>
              </p:grpSpPr>
              <p:cxnSp>
                <p:nvCxnSpPr>
                  <p:cNvPr id="14" name="Straight Connector 13"/>
                  <p:cNvCxnSpPr/>
                  <p:nvPr/>
                </p:nvCxnSpPr>
                <p:spPr>
                  <a:xfrm flipV="1">
                    <a:off x="8605923" y="4457700"/>
                    <a:ext cx="0" cy="857826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" name="Straight Connector 14"/>
                  <p:cNvCxnSpPr/>
                  <p:nvPr/>
                </p:nvCxnSpPr>
                <p:spPr>
                  <a:xfrm>
                    <a:off x="6184899" y="4678362"/>
                    <a:ext cx="2329949" cy="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/>
                  <p:cNvCxnSpPr/>
                  <p:nvPr/>
                </p:nvCxnSpPr>
                <p:spPr>
                  <a:xfrm flipV="1">
                    <a:off x="6197599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Straight Connector 16"/>
                  <p:cNvCxnSpPr/>
                  <p:nvPr/>
                </p:nvCxnSpPr>
                <p:spPr>
                  <a:xfrm flipV="1">
                    <a:off x="7386723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V="1">
                    <a:off x="10204848" y="4695568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26"/>
                  <p:cNvCxnSpPr>
                    <a:cxnSpLocks/>
                  </p:cNvCxnSpPr>
                  <p:nvPr/>
                </p:nvCxnSpPr>
                <p:spPr>
                  <a:xfrm>
                    <a:off x="8440231" y="4678362"/>
                    <a:ext cx="2716810" cy="17207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D3E88E1A-B63C-4197-9FF0-3693EC0ECF2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9487440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019FC67F-7092-455B-9CB5-023924CD0F97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11157041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1" name="Group 20"/>
                <p:cNvGrpSpPr/>
                <p:nvPr/>
              </p:nvGrpSpPr>
              <p:grpSpPr>
                <a:xfrm>
                  <a:off x="5608637" y="5678136"/>
                  <a:ext cx="5890118" cy="513438"/>
                  <a:chOff x="5608637" y="5678136"/>
                  <a:chExt cx="5890118" cy="513438"/>
                </a:xfrm>
              </p:grpSpPr>
              <p:grpSp>
                <p:nvGrpSpPr>
                  <p:cNvPr id="163" name="Group 162"/>
                  <p:cNvGrpSpPr/>
                  <p:nvPr/>
                </p:nvGrpSpPr>
                <p:grpSpPr>
                  <a:xfrm>
                    <a:off x="5608637" y="5678136"/>
                    <a:ext cx="5890118" cy="433435"/>
                    <a:chOff x="5405523" y="5413979"/>
                    <a:chExt cx="5890118" cy="433435"/>
                  </a:xfrm>
                </p:grpSpPr>
                <p:sp>
                  <p:nvSpPr>
                    <p:cNvPr id="18" name="Freeform 5"/>
                    <p:cNvSpPr>
                      <a:spLocks noChangeAspect="1" noEditPoints="1"/>
                    </p:cNvSpPr>
                    <p:nvPr/>
                  </p:nvSpPr>
                  <p:spPr bwMode="black">
                    <a:xfrm>
                      <a:off x="5405523" y="5495294"/>
                      <a:ext cx="1259212" cy="252411"/>
                    </a:xfrm>
                    <a:custGeom>
                      <a:avLst/>
                      <a:gdLst>
                        <a:gd name="T0" fmla="*/ 437 w 1686"/>
                        <a:gd name="T1" fmla="*/ 261 h 336"/>
                        <a:gd name="T2" fmla="*/ 516 w 1686"/>
                        <a:gd name="T3" fmla="*/ 200 h 336"/>
                        <a:gd name="T4" fmla="*/ 501 w 1686"/>
                        <a:gd name="T5" fmla="*/ 64 h 336"/>
                        <a:gd name="T6" fmla="*/ 462 w 1686"/>
                        <a:gd name="T7" fmla="*/ 116 h 336"/>
                        <a:gd name="T8" fmla="*/ 549 w 1686"/>
                        <a:gd name="T9" fmla="*/ 218 h 336"/>
                        <a:gd name="T10" fmla="*/ 613 w 1686"/>
                        <a:gd name="T11" fmla="*/ 155 h 336"/>
                        <a:gd name="T12" fmla="*/ 602 w 1686"/>
                        <a:gd name="T13" fmla="*/ 56 h 336"/>
                        <a:gd name="T14" fmla="*/ 698 w 1686"/>
                        <a:gd name="T15" fmla="*/ 269 h 336"/>
                        <a:gd name="T16" fmla="*/ 768 w 1686"/>
                        <a:gd name="T17" fmla="*/ 273 h 336"/>
                        <a:gd name="T18" fmla="*/ 783 w 1686"/>
                        <a:gd name="T19" fmla="*/ 142 h 336"/>
                        <a:gd name="T20" fmla="*/ 836 w 1686"/>
                        <a:gd name="T21" fmla="*/ 176 h 336"/>
                        <a:gd name="T22" fmla="*/ 745 w 1686"/>
                        <a:gd name="T23" fmla="*/ 229 h 336"/>
                        <a:gd name="T24" fmla="*/ 813 w 1686"/>
                        <a:gd name="T25" fmla="*/ 196 h 336"/>
                        <a:gd name="T26" fmla="*/ 894 w 1686"/>
                        <a:gd name="T27" fmla="*/ 269 h 336"/>
                        <a:gd name="T28" fmla="*/ 895 w 1686"/>
                        <a:gd name="T29" fmla="*/ 155 h 336"/>
                        <a:gd name="T30" fmla="*/ 1075 w 1686"/>
                        <a:gd name="T31" fmla="*/ 203 h 336"/>
                        <a:gd name="T32" fmla="*/ 1064 w 1686"/>
                        <a:gd name="T33" fmla="*/ 259 h 336"/>
                        <a:gd name="T34" fmla="*/ 982 w 1686"/>
                        <a:gd name="T35" fmla="*/ 132 h 336"/>
                        <a:gd name="T36" fmla="*/ 1051 w 1686"/>
                        <a:gd name="T37" fmla="*/ 184 h 336"/>
                        <a:gd name="T38" fmla="*/ 1051 w 1686"/>
                        <a:gd name="T39" fmla="*/ 184 h 336"/>
                        <a:gd name="T40" fmla="*/ 1127 w 1686"/>
                        <a:gd name="T41" fmla="*/ 269 h 336"/>
                        <a:gd name="T42" fmla="*/ 1227 w 1686"/>
                        <a:gd name="T43" fmla="*/ 128 h 336"/>
                        <a:gd name="T44" fmla="*/ 1152 w 1686"/>
                        <a:gd name="T45" fmla="*/ 172 h 336"/>
                        <a:gd name="T46" fmla="*/ 1302 w 1686"/>
                        <a:gd name="T47" fmla="*/ 273 h 336"/>
                        <a:gd name="T48" fmla="*/ 1356 w 1686"/>
                        <a:gd name="T49" fmla="*/ 142 h 336"/>
                        <a:gd name="T50" fmla="*/ 1269 w 1686"/>
                        <a:gd name="T51" fmla="*/ 156 h 336"/>
                        <a:gd name="T52" fmla="*/ 1351 w 1686"/>
                        <a:gd name="T53" fmla="*/ 198 h 336"/>
                        <a:gd name="T54" fmla="*/ 1399 w 1686"/>
                        <a:gd name="T55" fmla="*/ 74 h 336"/>
                        <a:gd name="T56" fmla="*/ 1425 w 1686"/>
                        <a:gd name="T57" fmla="*/ 269 h 336"/>
                        <a:gd name="T58" fmla="*/ 1584 w 1686"/>
                        <a:gd name="T59" fmla="*/ 269 h 336"/>
                        <a:gd name="T60" fmla="*/ 1487 w 1686"/>
                        <a:gd name="T61" fmla="*/ 187 h 336"/>
                        <a:gd name="T62" fmla="*/ 1487 w 1686"/>
                        <a:gd name="T63" fmla="*/ 149 h 336"/>
                        <a:gd name="T64" fmla="*/ 1584 w 1686"/>
                        <a:gd name="T65" fmla="*/ 269 h 336"/>
                        <a:gd name="T66" fmla="*/ 1602 w 1686"/>
                        <a:gd name="T67" fmla="*/ 145 h 336"/>
                        <a:gd name="T68" fmla="*/ 1650 w 1686"/>
                        <a:gd name="T69" fmla="*/ 125 h 336"/>
                        <a:gd name="T70" fmla="*/ 1655 w 1686"/>
                        <a:gd name="T71" fmla="*/ 247 h 336"/>
                        <a:gd name="T72" fmla="*/ 0 w 1686"/>
                        <a:gd name="T73" fmla="*/ 301 h 336"/>
                        <a:gd name="T74" fmla="*/ 85 w 1686"/>
                        <a:gd name="T75" fmla="*/ 99 h 336"/>
                        <a:gd name="T76" fmla="*/ 58 w 1686"/>
                        <a:gd name="T77" fmla="*/ 123 h 336"/>
                        <a:gd name="T78" fmla="*/ 68 w 1686"/>
                        <a:gd name="T79" fmla="*/ 170 h 336"/>
                        <a:gd name="T80" fmla="*/ 93 w 1686"/>
                        <a:gd name="T81" fmla="*/ 189 h 336"/>
                        <a:gd name="T82" fmla="*/ 98 w 1686"/>
                        <a:gd name="T83" fmla="*/ 204 h 336"/>
                        <a:gd name="T84" fmla="*/ 90 w 1686"/>
                        <a:gd name="T85" fmla="*/ 214 h 336"/>
                        <a:gd name="T86" fmla="*/ 62 w 1686"/>
                        <a:gd name="T87" fmla="*/ 206 h 336"/>
                        <a:gd name="T88" fmla="*/ 74 w 1686"/>
                        <a:gd name="T89" fmla="*/ 238 h 336"/>
                        <a:gd name="T90" fmla="*/ 115 w 1686"/>
                        <a:gd name="T91" fmla="*/ 227 h 336"/>
                        <a:gd name="T92" fmla="*/ 124 w 1686"/>
                        <a:gd name="T93" fmla="*/ 192 h 336"/>
                        <a:gd name="T94" fmla="*/ 108 w 1686"/>
                        <a:gd name="T95" fmla="*/ 165 h 336"/>
                        <a:gd name="T96" fmla="*/ 85 w 1686"/>
                        <a:gd name="T97" fmla="*/ 149 h 336"/>
                        <a:gd name="T98" fmla="*/ 79 w 1686"/>
                        <a:gd name="T99" fmla="*/ 136 h 336"/>
                        <a:gd name="T100" fmla="*/ 86 w 1686"/>
                        <a:gd name="T101" fmla="*/ 124 h 336"/>
                        <a:gd name="T102" fmla="*/ 107 w 1686"/>
                        <a:gd name="T103" fmla="*/ 124 h 336"/>
                        <a:gd name="T104" fmla="*/ 107 w 1686"/>
                        <a:gd name="T105" fmla="*/ 98 h 336"/>
                        <a:gd name="T106" fmla="*/ 270 w 1686"/>
                        <a:gd name="T107" fmla="*/ 86 h 336"/>
                        <a:gd name="T108" fmla="*/ 238 w 1686"/>
                        <a:gd name="T109" fmla="*/ 113 h 336"/>
                        <a:gd name="T110" fmla="*/ 262 w 1686"/>
                        <a:gd name="T111" fmla="*/ 235 h 336"/>
                        <a:gd name="T112" fmla="*/ 270 w 1686"/>
                        <a:gd name="T113" fmla="*/ 257 h 336"/>
                        <a:gd name="T114" fmla="*/ 324 w 1686"/>
                        <a:gd name="T115" fmla="*/ 135 h 3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1686" h="336">
                          <a:moveTo>
                            <a:pt x="549" y="218"/>
                          </a:moveTo>
                          <a:cubicBezTo>
                            <a:pt x="549" y="235"/>
                            <a:pt x="543" y="249"/>
                            <a:pt x="531" y="258"/>
                          </a:cubicBezTo>
                          <a:cubicBezTo>
                            <a:pt x="519" y="268"/>
                            <a:pt x="503" y="273"/>
                            <a:pt x="482" y="273"/>
                          </a:cubicBezTo>
                          <a:cubicBezTo>
                            <a:pt x="475" y="273"/>
                            <a:pt x="466" y="272"/>
                            <a:pt x="457" y="269"/>
                          </a:cubicBezTo>
                          <a:cubicBezTo>
                            <a:pt x="447" y="267"/>
                            <a:pt x="441" y="264"/>
                            <a:pt x="437" y="261"/>
                          </a:cubicBezTo>
                          <a:cubicBezTo>
                            <a:pt x="437" y="233"/>
                            <a:pt x="437" y="233"/>
                            <a:pt x="437" y="233"/>
                          </a:cubicBezTo>
                          <a:cubicBezTo>
                            <a:pt x="442" y="238"/>
                            <a:pt x="450" y="243"/>
                            <a:pt x="459" y="246"/>
                          </a:cubicBezTo>
                          <a:cubicBezTo>
                            <a:pt x="469" y="250"/>
                            <a:pt x="477" y="251"/>
                            <a:pt x="485" y="251"/>
                          </a:cubicBezTo>
                          <a:cubicBezTo>
                            <a:pt x="511" y="251"/>
                            <a:pt x="524" y="241"/>
                            <a:pt x="524" y="221"/>
                          </a:cubicBezTo>
                          <a:cubicBezTo>
                            <a:pt x="524" y="213"/>
                            <a:pt x="521" y="206"/>
                            <a:pt x="516" y="200"/>
                          </a:cubicBezTo>
                          <a:cubicBezTo>
                            <a:pt x="510" y="193"/>
                            <a:pt x="499" y="186"/>
                            <a:pt x="482" y="176"/>
                          </a:cubicBezTo>
                          <a:cubicBezTo>
                            <a:pt x="465" y="166"/>
                            <a:pt x="454" y="157"/>
                            <a:pt x="447" y="149"/>
                          </a:cubicBezTo>
                          <a:cubicBezTo>
                            <a:pt x="440" y="141"/>
                            <a:pt x="437" y="130"/>
                            <a:pt x="437" y="118"/>
                          </a:cubicBezTo>
                          <a:cubicBezTo>
                            <a:pt x="437" y="102"/>
                            <a:pt x="443" y="89"/>
                            <a:pt x="455" y="79"/>
                          </a:cubicBezTo>
                          <a:cubicBezTo>
                            <a:pt x="467" y="69"/>
                            <a:pt x="482" y="64"/>
                            <a:pt x="501" y="64"/>
                          </a:cubicBezTo>
                          <a:cubicBezTo>
                            <a:pt x="519" y="64"/>
                            <a:pt x="532" y="67"/>
                            <a:pt x="541" y="71"/>
                          </a:cubicBezTo>
                          <a:cubicBezTo>
                            <a:pt x="541" y="98"/>
                            <a:pt x="541" y="98"/>
                            <a:pt x="541" y="98"/>
                          </a:cubicBezTo>
                          <a:cubicBezTo>
                            <a:pt x="530" y="90"/>
                            <a:pt x="517" y="86"/>
                            <a:pt x="500" y="86"/>
                          </a:cubicBezTo>
                          <a:cubicBezTo>
                            <a:pt x="489" y="86"/>
                            <a:pt x="479" y="88"/>
                            <a:pt x="472" y="94"/>
                          </a:cubicBezTo>
                          <a:cubicBezTo>
                            <a:pt x="465" y="99"/>
                            <a:pt x="462" y="107"/>
                            <a:pt x="462" y="116"/>
                          </a:cubicBezTo>
                          <a:cubicBezTo>
                            <a:pt x="462" y="123"/>
                            <a:pt x="463" y="128"/>
                            <a:pt x="465" y="132"/>
                          </a:cubicBezTo>
                          <a:cubicBezTo>
                            <a:pt x="467" y="136"/>
                            <a:pt x="471" y="140"/>
                            <a:pt x="476" y="144"/>
                          </a:cubicBezTo>
                          <a:cubicBezTo>
                            <a:pt x="481" y="148"/>
                            <a:pt x="489" y="153"/>
                            <a:pt x="501" y="160"/>
                          </a:cubicBezTo>
                          <a:cubicBezTo>
                            <a:pt x="519" y="170"/>
                            <a:pt x="531" y="179"/>
                            <a:pt x="538" y="188"/>
                          </a:cubicBezTo>
                          <a:cubicBezTo>
                            <a:pt x="546" y="197"/>
                            <a:pt x="549" y="207"/>
                            <a:pt x="549" y="218"/>
                          </a:cubicBezTo>
                          <a:close/>
                          <a:moveTo>
                            <a:pt x="698" y="269"/>
                          </a:moveTo>
                          <a:cubicBezTo>
                            <a:pt x="675" y="269"/>
                            <a:pt x="675" y="269"/>
                            <a:pt x="675" y="269"/>
                          </a:cubicBezTo>
                          <a:cubicBezTo>
                            <a:pt x="675" y="186"/>
                            <a:pt x="675" y="186"/>
                            <a:pt x="675" y="186"/>
                          </a:cubicBezTo>
                          <a:cubicBezTo>
                            <a:pt x="675" y="156"/>
                            <a:pt x="664" y="142"/>
                            <a:pt x="641" y="142"/>
                          </a:cubicBezTo>
                          <a:cubicBezTo>
                            <a:pt x="630" y="142"/>
                            <a:pt x="620" y="146"/>
                            <a:pt x="613" y="155"/>
                          </a:cubicBezTo>
                          <a:cubicBezTo>
                            <a:pt x="605" y="163"/>
                            <a:pt x="602" y="174"/>
                            <a:pt x="602" y="188"/>
                          </a:cubicBezTo>
                          <a:cubicBezTo>
                            <a:pt x="602" y="269"/>
                            <a:pt x="602" y="269"/>
                            <a:pt x="602" y="269"/>
                          </a:cubicBezTo>
                          <a:cubicBezTo>
                            <a:pt x="578" y="269"/>
                            <a:pt x="578" y="269"/>
                            <a:pt x="578" y="269"/>
                          </a:cubicBezTo>
                          <a:cubicBezTo>
                            <a:pt x="578" y="56"/>
                            <a:pt x="578" y="56"/>
                            <a:pt x="578" y="56"/>
                          </a:cubicBezTo>
                          <a:cubicBezTo>
                            <a:pt x="602" y="56"/>
                            <a:pt x="602" y="56"/>
                            <a:pt x="602" y="56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13" y="131"/>
                            <a:pt x="629" y="122"/>
                            <a:pt x="649" y="122"/>
                          </a:cubicBezTo>
                          <a:cubicBezTo>
                            <a:pt x="682" y="122"/>
                            <a:pt x="698" y="141"/>
                            <a:pt x="698" y="181"/>
                          </a:cubicBezTo>
                          <a:lnTo>
                            <a:pt x="698" y="269"/>
                          </a:lnTo>
                          <a:close/>
                          <a:moveTo>
                            <a:pt x="836" y="269"/>
                          </a:moveTo>
                          <a:cubicBezTo>
                            <a:pt x="813" y="269"/>
                            <a:pt x="813" y="269"/>
                            <a:pt x="813" y="269"/>
                          </a:cubicBezTo>
                          <a:cubicBezTo>
                            <a:pt x="813" y="247"/>
                            <a:pt x="813" y="247"/>
                            <a:pt x="813" y="247"/>
                          </a:cubicBezTo>
                          <a:cubicBezTo>
                            <a:pt x="812" y="247"/>
                            <a:pt x="812" y="247"/>
                            <a:pt x="812" y="247"/>
                          </a:cubicBezTo>
                          <a:cubicBezTo>
                            <a:pt x="802" y="264"/>
                            <a:pt x="787" y="273"/>
                            <a:pt x="768" y="273"/>
                          </a:cubicBezTo>
                          <a:cubicBezTo>
                            <a:pt x="754" y="273"/>
                            <a:pt x="743" y="269"/>
                            <a:pt x="734" y="262"/>
                          </a:cubicBezTo>
                          <a:cubicBezTo>
                            <a:pt x="726" y="254"/>
                            <a:pt x="722" y="244"/>
                            <a:pt x="722" y="231"/>
                          </a:cubicBezTo>
                          <a:cubicBezTo>
                            <a:pt x="722" y="204"/>
                            <a:pt x="738" y="189"/>
                            <a:pt x="769" y="184"/>
                          </a:cubicBezTo>
                          <a:cubicBezTo>
                            <a:pt x="813" y="178"/>
                            <a:pt x="813" y="178"/>
                            <a:pt x="813" y="178"/>
                          </a:cubicBezTo>
                          <a:cubicBezTo>
                            <a:pt x="813" y="154"/>
                            <a:pt x="803" y="142"/>
                            <a:pt x="783" y="142"/>
                          </a:cubicBezTo>
                          <a:cubicBezTo>
                            <a:pt x="766" y="142"/>
                            <a:pt x="750" y="147"/>
                            <a:pt x="736" y="159"/>
                          </a:cubicBezTo>
                          <a:cubicBezTo>
                            <a:pt x="736" y="135"/>
                            <a:pt x="736" y="135"/>
                            <a:pt x="736" y="135"/>
                          </a:cubicBezTo>
                          <a:cubicBezTo>
                            <a:pt x="740" y="132"/>
                            <a:pt x="747" y="129"/>
                            <a:pt x="758" y="126"/>
                          </a:cubicBezTo>
                          <a:cubicBezTo>
                            <a:pt x="768" y="123"/>
                            <a:pt x="777" y="122"/>
                            <a:pt x="785" y="122"/>
                          </a:cubicBezTo>
                          <a:cubicBezTo>
                            <a:pt x="819" y="122"/>
                            <a:pt x="836" y="140"/>
                            <a:pt x="836" y="176"/>
                          </a:cubicBezTo>
                          <a:lnTo>
                            <a:pt x="836" y="269"/>
                          </a:lnTo>
                          <a:close/>
                          <a:moveTo>
                            <a:pt x="813" y="196"/>
                          </a:moveTo>
                          <a:cubicBezTo>
                            <a:pt x="778" y="201"/>
                            <a:pt x="778" y="201"/>
                            <a:pt x="778" y="201"/>
                          </a:cubicBezTo>
                          <a:cubicBezTo>
                            <a:pt x="766" y="203"/>
                            <a:pt x="757" y="206"/>
                            <a:pt x="753" y="210"/>
                          </a:cubicBezTo>
                          <a:cubicBezTo>
                            <a:pt x="748" y="214"/>
                            <a:pt x="745" y="220"/>
                            <a:pt x="745" y="229"/>
                          </a:cubicBezTo>
                          <a:cubicBezTo>
                            <a:pt x="745" y="236"/>
                            <a:pt x="748" y="242"/>
                            <a:pt x="753" y="247"/>
                          </a:cubicBezTo>
                          <a:cubicBezTo>
                            <a:pt x="758" y="251"/>
                            <a:pt x="765" y="253"/>
                            <a:pt x="773" y="253"/>
                          </a:cubicBezTo>
                          <a:cubicBezTo>
                            <a:pt x="784" y="253"/>
                            <a:pt x="794" y="249"/>
                            <a:pt x="801" y="241"/>
                          </a:cubicBezTo>
                          <a:cubicBezTo>
                            <a:pt x="809" y="233"/>
                            <a:pt x="813" y="223"/>
                            <a:pt x="813" y="211"/>
                          </a:cubicBezTo>
                          <a:lnTo>
                            <a:pt x="813" y="196"/>
                          </a:lnTo>
                          <a:close/>
                          <a:moveTo>
                            <a:pt x="946" y="149"/>
                          </a:moveTo>
                          <a:cubicBezTo>
                            <a:pt x="942" y="146"/>
                            <a:pt x="936" y="144"/>
                            <a:pt x="929" y="144"/>
                          </a:cubicBezTo>
                          <a:cubicBezTo>
                            <a:pt x="919" y="144"/>
                            <a:pt x="910" y="149"/>
                            <a:pt x="904" y="158"/>
                          </a:cubicBezTo>
                          <a:cubicBezTo>
                            <a:pt x="898" y="168"/>
                            <a:pt x="894" y="181"/>
                            <a:pt x="894" y="196"/>
                          </a:cubicBezTo>
                          <a:cubicBezTo>
                            <a:pt x="894" y="269"/>
                            <a:pt x="894" y="269"/>
                            <a:pt x="894" y="269"/>
                          </a:cubicBezTo>
                          <a:cubicBezTo>
                            <a:pt x="871" y="269"/>
                            <a:pt x="871" y="269"/>
                            <a:pt x="871" y="269"/>
                          </a:cubicBezTo>
                          <a:cubicBezTo>
                            <a:pt x="871" y="125"/>
                            <a:pt x="871" y="125"/>
                            <a:pt x="871" y="125"/>
                          </a:cubicBezTo>
                          <a:cubicBezTo>
                            <a:pt x="894" y="125"/>
                            <a:pt x="894" y="125"/>
                            <a:pt x="894" y="125"/>
                          </a:cubicBezTo>
                          <a:cubicBezTo>
                            <a:pt x="894" y="155"/>
                            <a:pt x="894" y="155"/>
                            <a:pt x="894" y="155"/>
                          </a:cubicBezTo>
                          <a:cubicBezTo>
                            <a:pt x="895" y="155"/>
                            <a:pt x="895" y="155"/>
                            <a:pt x="895" y="155"/>
                          </a:cubicBezTo>
                          <a:cubicBezTo>
                            <a:pt x="898" y="145"/>
                            <a:pt x="903" y="137"/>
                            <a:pt x="910" y="131"/>
                          </a:cubicBezTo>
                          <a:cubicBezTo>
                            <a:pt x="916" y="126"/>
                            <a:pt x="924" y="123"/>
                            <a:pt x="933" y="123"/>
                          </a:cubicBezTo>
                          <a:cubicBezTo>
                            <a:pt x="939" y="123"/>
                            <a:pt x="943" y="123"/>
                            <a:pt x="946" y="125"/>
                          </a:cubicBezTo>
                          <a:lnTo>
                            <a:pt x="946" y="149"/>
                          </a:lnTo>
                          <a:close/>
                          <a:moveTo>
                            <a:pt x="1075" y="203"/>
                          </a:moveTo>
                          <a:cubicBezTo>
                            <a:pt x="973" y="203"/>
                            <a:pt x="973" y="203"/>
                            <a:pt x="973" y="203"/>
                          </a:cubicBezTo>
                          <a:cubicBezTo>
                            <a:pt x="973" y="219"/>
                            <a:pt x="978" y="232"/>
                            <a:pt x="986" y="240"/>
                          </a:cubicBezTo>
                          <a:cubicBezTo>
                            <a:pt x="994" y="249"/>
                            <a:pt x="1005" y="253"/>
                            <a:pt x="1020" y="253"/>
                          </a:cubicBezTo>
                          <a:cubicBezTo>
                            <a:pt x="1036" y="253"/>
                            <a:pt x="1051" y="248"/>
                            <a:pt x="1064" y="237"/>
                          </a:cubicBezTo>
                          <a:cubicBezTo>
                            <a:pt x="1064" y="259"/>
                            <a:pt x="1064" y="259"/>
                            <a:pt x="1064" y="259"/>
                          </a:cubicBezTo>
                          <a:cubicBezTo>
                            <a:pt x="1052" y="268"/>
                            <a:pt x="1035" y="273"/>
                            <a:pt x="1014" y="273"/>
                          </a:cubicBezTo>
                          <a:cubicBezTo>
                            <a:pt x="994" y="273"/>
                            <a:pt x="978" y="266"/>
                            <a:pt x="966" y="253"/>
                          </a:cubicBezTo>
                          <a:cubicBezTo>
                            <a:pt x="955" y="240"/>
                            <a:pt x="949" y="221"/>
                            <a:pt x="949" y="198"/>
                          </a:cubicBezTo>
                          <a:cubicBezTo>
                            <a:pt x="949" y="184"/>
                            <a:pt x="952" y="171"/>
                            <a:pt x="958" y="159"/>
                          </a:cubicBezTo>
                          <a:cubicBezTo>
                            <a:pt x="963" y="147"/>
                            <a:pt x="971" y="138"/>
                            <a:pt x="982" y="132"/>
                          </a:cubicBezTo>
                          <a:cubicBezTo>
                            <a:pt x="992" y="125"/>
                            <a:pt x="1003" y="122"/>
                            <a:pt x="1015" y="122"/>
                          </a:cubicBezTo>
                          <a:cubicBezTo>
                            <a:pt x="1034" y="122"/>
                            <a:pt x="1048" y="128"/>
                            <a:pt x="1059" y="140"/>
                          </a:cubicBezTo>
                          <a:cubicBezTo>
                            <a:pt x="1069" y="152"/>
                            <a:pt x="1075" y="169"/>
                            <a:pt x="1075" y="191"/>
                          </a:cubicBezTo>
                          <a:lnTo>
                            <a:pt x="1075" y="203"/>
                          </a:lnTo>
                          <a:close/>
                          <a:moveTo>
                            <a:pt x="1051" y="184"/>
                          </a:moveTo>
                          <a:cubicBezTo>
                            <a:pt x="1051" y="170"/>
                            <a:pt x="1048" y="160"/>
                            <a:pt x="1041" y="153"/>
                          </a:cubicBezTo>
                          <a:cubicBezTo>
                            <a:pt x="1035" y="145"/>
                            <a:pt x="1026" y="142"/>
                            <a:pt x="1015" y="142"/>
                          </a:cubicBezTo>
                          <a:cubicBezTo>
                            <a:pt x="1004" y="142"/>
                            <a:pt x="995" y="145"/>
                            <a:pt x="988" y="153"/>
                          </a:cubicBezTo>
                          <a:cubicBezTo>
                            <a:pt x="980" y="161"/>
                            <a:pt x="975" y="171"/>
                            <a:pt x="973" y="184"/>
                          </a:cubicBezTo>
                          <a:lnTo>
                            <a:pt x="1051" y="184"/>
                          </a:lnTo>
                          <a:close/>
                          <a:moveTo>
                            <a:pt x="1227" y="128"/>
                          </a:moveTo>
                          <a:cubicBezTo>
                            <a:pt x="1227" y="147"/>
                            <a:pt x="1220" y="163"/>
                            <a:pt x="1207" y="175"/>
                          </a:cubicBezTo>
                          <a:cubicBezTo>
                            <a:pt x="1193" y="187"/>
                            <a:pt x="1176" y="193"/>
                            <a:pt x="1154" y="193"/>
                          </a:cubicBezTo>
                          <a:cubicBezTo>
                            <a:pt x="1127" y="193"/>
                            <a:pt x="1127" y="193"/>
                            <a:pt x="1127" y="193"/>
                          </a:cubicBezTo>
                          <a:cubicBezTo>
                            <a:pt x="1127" y="269"/>
                            <a:pt x="1127" y="269"/>
                            <a:pt x="1127" y="269"/>
                          </a:cubicBezTo>
                          <a:cubicBezTo>
                            <a:pt x="1104" y="269"/>
                            <a:pt x="1104" y="269"/>
                            <a:pt x="1104" y="269"/>
                          </a:cubicBezTo>
                          <a:cubicBezTo>
                            <a:pt x="1104" y="68"/>
                            <a:pt x="1104" y="68"/>
                            <a:pt x="1104" y="68"/>
                          </a:cubicBezTo>
                          <a:cubicBezTo>
                            <a:pt x="1159" y="68"/>
                            <a:pt x="1159" y="68"/>
                            <a:pt x="1159" y="68"/>
                          </a:cubicBezTo>
                          <a:cubicBezTo>
                            <a:pt x="1181" y="68"/>
                            <a:pt x="1197" y="73"/>
                            <a:pt x="1209" y="83"/>
                          </a:cubicBezTo>
                          <a:cubicBezTo>
                            <a:pt x="1221" y="94"/>
                            <a:pt x="1227" y="109"/>
                            <a:pt x="1227" y="128"/>
                          </a:cubicBezTo>
                          <a:close/>
                          <a:moveTo>
                            <a:pt x="1202" y="129"/>
                          </a:moveTo>
                          <a:cubicBezTo>
                            <a:pt x="1202" y="102"/>
                            <a:pt x="1186" y="89"/>
                            <a:pt x="1155" y="89"/>
                          </a:cubicBezTo>
                          <a:cubicBezTo>
                            <a:pt x="1127" y="89"/>
                            <a:pt x="1127" y="89"/>
                            <a:pt x="1127" y="89"/>
                          </a:cubicBezTo>
                          <a:cubicBezTo>
                            <a:pt x="1127" y="172"/>
                            <a:pt x="1127" y="172"/>
                            <a:pt x="1127" y="172"/>
                          </a:cubicBezTo>
                          <a:cubicBezTo>
                            <a:pt x="1152" y="172"/>
                            <a:pt x="1152" y="172"/>
                            <a:pt x="1152" y="172"/>
                          </a:cubicBezTo>
                          <a:cubicBezTo>
                            <a:pt x="1168" y="172"/>
                            <a:pt x="1181" y="168"/>
                            <a:pt x="1189" y="161"/>
                          </a:cubicBezTo>
                          <a:cubicBezTo>
                            <a:pt x="1198" y="153"/>
                            <a:pt x="1202" y="143"/>
                            <a:pt x="1202" y="129"/>
                          </a:cubicBezTo>
                          <a:close/>
                          <a:moveTo>
                            <a:pt x="1374" y="197"/>
                          </a:moveTo>
                          <a:cubicBezTo>
                            <a:pt x="1374" y="220"/>
                            <a:pt x="1368" y="238"/>
                            <a:pt x="1355" y="252"/>
                          </a:cubicBezTo>
                          <a:cubicBezTo>
                            <a:pt x="1342" y="266"/>
                            <a:pt x="1324" y="273"/>
                            <a:pt x="1302" y="273"/>
                          </a:cubicBezTo>
                          <a:cubicBezTo>
                            <a:pt x="1281" y="273"/>
                            <a:pt x="1264" y="266"/>
                            <a:pt x="1251" y="253"/>
                          </a:cubicBezTo>
                          <a:cubicBezTo>
                            <a:pt x="1239" y="239"/>
                            <a:pt x="1232" y="221"/>
                            <a:pt x="1232" y="199"/>
                          </a:cubicBezTo>
                          <a:cubicBezTo>
                            <a:pt x="1232" y="175"/>
                            <a:pt x="1239" y="156"/>
                            <a:pt x="1252" y="143"/>
                          </a:cubicBezTo>
                          <a:cubicBezTo>
                            <a:pt x="1265" y="129"/>
                            <a:pt x="1283" y="122"/>
                            <a:pt x="1306" y="122"/>
                          </a:cubicBezTo>
                          <a:cubicBezTo>
                            <a:pt x="1327" y="122"/>
                            <a:pt x="1344" y="128"/>
                            <a:pt x="1356" y="142"/>
                          </a:cubicBezTo>
                          <a:cubicBezTo>
                            <a:pt x="1368" y="155"/>
                            <a:pt x="1374" y="174"/>
                            <a:pt x="1374" y="197"/>
                          </a:cubicBezTo>
                          <a:close/>
                          <a:moveTo>
                            <a:pt x="1351" y="198"/>
                          </a:moveTo>
                          <a:cubicBezTo>
                            <a:pt x="1351" y="180"/>
                            <a:pt x="1347" y="166"/>
                            <a:pt x="1339" y="156"/>
                          </a:cubicBezTo>
                          <a:cubicBezTo>
                            <a:pt x="1331" y="146"/>
                            <a:pt x="1319" y="142"/>
                            <a:pt x="1304" y="142"/>
                          </a:cubicBezTo>
                          <a:cubicBezTo>
                            <a:pt x="1289" y="142"/>
                            <a:pt x="1278" y="146"/>
                            <a:pt x="1269" y="156"/>
                          </a:cubicBezTo>
                          <a:cubicBezTo>
                            <a:pt x="1260" y="166"/>
                            <a:pt x="1256" y="180"/>
                            <a:pt x="1256" y="198"/>
                          </a:cubicBezTo>
                          <a:cubicBezTo>
                            <a:pt x="1256" y="215"/>
                            <a:pt x="1260" y="229"/>
                            <a:pt x="1269" y="239"/>
                          </a:cubicBezTo>
                          <a:cubicBezTo>
                            <a:pt x="1278" y="248"/>
                            <a:pt x="1289" y="253"/>
                            <a:pt x="1304" y="253"/>
                          </a:cubicBezTo>
                          <a:cubicBezTo>
                            <a:pt x="1319" y="253"/>
                            <a:pt x="1331" y="248"/>
                            <a:pt x="1339" y="239"/>
                          </a:cubicBezTo>
                          <a:cubicBezTo>
                            <a:pt x="1347" y="229"/>
                            <a:pt x="1351" y="216"/>
                            <a:pt x="1351" y="198"/>
                          </a:cubicBezTo>
                          <a:close/>
                          <a:moveTo>
                            <a:pt x="1429" y="74"/>
                          </a:moveTo>
                          <a:cubicBezTo>
                            <a:pt x="1429" y="78"/>
                            <a:pt x="1428" y="82"/>
                            <a:pt x="1425" y="84"/>
                          </a:cubicBezTo>
                          <a:cubicBezTo>
                            <a:pt x="1422" y="87"/>
                            <a:pt x="1418" y="89"/>
                            <a:pt x="1414" y="89"/>
                          </a:cubicBezTo>
                          <a:cubicBezTo>
                            <a:pt x="1410" y="89"/>
                            <a:pt x="1406" y="87"/>
                            <a:pt x="1403" y="85"/>
                          </a:cubicBezTo>
                          <a:cubicBezTo>
                            <a:pt x="1400" y="82"/>
                            <a:pt x="1399" y="78"/>
                            <a:pt x="1399" y="74"/>
                          </a:cubicBezTo>
                          <a:cubicBezTo>
                            <a:pt x="1399" y="70"/>
                            <a:pt x="1400" y="66"/>
                            <a:pt x="1403" y="63"/>
                          </a:cubicBezTo>
                          <a:cubicBezTo>
                            <a:pt x="1406" y="60"/>
                            <a:pt x="1410" y="59"/>
                            <a:pt x="1414" y="59"/>
                          </a:cubicBezTo>
                          <a:cubicBezTo>
                            <a:pt x="1418" y="59"/>
                            <a:pt x="1422" y="60"/>
                            <a:pt x="1425" y="63"/>
                          </a:cubicBezTo>
                          <a:cubicBezTo>
                            <a:pt x="1428" y="66"/>
                            <a:pt x="1429" y="70"/>
                            <a:pt x="1429" y="74"/>
                          </a:cubicBezTo>
                          <a:close/>
                          <a:moveTo>
                            <a:pt x="1425" y="269"/>
                          </a:moveTo>
                          <a:cubicBezTo>
                            <a:pt x="1402" y="269"/>
                            <a:pt x="1402" y="269"/>
                            <a:pt x="1402" y="269"/>
                          </a:cubicBezTo>
                          <a:cubicBezTo>
                            <a:pt x="1402" y="125"/>
                            <a:pt x="1402" y="125"/>
                            <a:pt x="1402" y="125"/>
                          </a:cubicBezTo>
                          <a:cubicBezTo>
                            <a:pt x="1425" y="125"/>
                            <a:pt x="1425" y="125"/>
                            <a:pt x="1425" y="125"/>
                          </a:cubicBezTo>
                          <a:lnTo>
                            <a:pt x="1425" y="269"/>
                          </a:lnTo>
                          <a:close/>
                          <a:moveTo>
                            <a:pt x="1584" y="269"/>
                          </a:moveTo>
                          <a:cubicBezTo>
                            <a:pt x="1561" y="269"/>
                            <a:pt x="1561" y="269"/>
                            <a:pt x="1561" y="269"/>
                          </a:cubicBezTo>
                          <a:cubicBezTo>
                            <a:pt x="1561" y="187"/>
                            <a:pt x="1561" y="187"/>
                            <a:pt x="1561" y="187"/>
                          </a:cubicBezTo>
                          <a:cubicBezTo>
                            <a:pt x="1561" y="157"/>
                            <a:pt x="1549" y="142"/>
                            <a:pt x="1527" y="142"/>
                          </a:cubicBezTo>
                          <a:cubicBezTo>
                            <a:pt x="1516" y="142"/>
                            <a:pt x="1506" y="146"/>
                            <a:pt x="1499" y="154"/>
                          </a:cubicBezTo>
                          <a:cubicBezTo>
                            <a:pt x="1491" y="163"/>
                            <a:pt x="1487" y="174"/>
                            <a:pt x="1487" y="187"/>
                          </a:cubicBezTo>
                          <a:cubicBezTo>
                            <a:pt x="1487" y="269"/>
                            <a:pt x="1487" y="269"/>
                            <a:pt x="1487" y="269"/>
                          </a:cubicBezTo>
                          <a:cubicBezTo>
                            <a:pt x="1464" y="269"/>
                            <a:pt x="1464" y="269"/>
                            <a:pt x="1464" y="269"/>
                          </a:cubicBezTo>
                          <a:cubicBezTo>
                            <a:pt x="1464" y="125"/>
                            <a:pt x="1464" y="125"/>
                            <a:pt x="1464" y="125"/>
                          </a:cubicBezTo>
                          <a:cubicBezTo>
                            <a:pt x="1487" y="125"/>
                            <a:pt x="1487" y="125"/>
                            <a:pt x="1487" y="125"/>
                          </a:cubicBezTo>
                          <a:cubicBezTo>
                            <a:pt x="1487" y="149"/>
                            <a:pt x="1487" y="149"/>
                            <a:pt x="1487" y="149"/>
                          </a:cubicBezTo>
                          <a:cubicBezTo>
                            <a:pt x="1488" y="149"/>
                            <a:pt x="1488" y="149"/>
                            <a:pt x="1488" y="149"/>
                          </a:cubicBezTo>
                          <a:cubicBezTo>
                            <a:pt x="1499" y="131"/>
                            <a:pt x="1514" y="122"/>
                            <a:pt x="1535" y="122"/>
                          </a:cubicBezTo>
                          <a:cubicBezTo>
                            <a:pt x="1551" y="122"/>
                            <a:pt x="1563" y="127"/>
                            <a:pt x="1571" y="137"/>
                          </a:cubicBezTo>
                          <a:cubicBezTo>
                            <a:pt x="1579" y="148"/>
                            <a:pt x="1584" y="162"/>
                            <a:pt x="1584" y="181"/>
                          </a:cubicBezTo>
                          <a:lnTo>
                            <a:pt x="1584" y="269"/>
                          </a:lnTo>
                          <a:close/>
                          <a:moveTo>
                            <a:pt x="1686" y="268"/>
                          </a:moveTo>
                          <a:cubicBezTo>
                            <a:pt x="1681" y="271"/>
                            <a:pt x="1673" y="273"/>
                            <a:pt x="1664" y="273"/>
                          </a:cubicBezTo>
                          <a:cubicBezTo>
                            <a:pt x="1639" y="273"/>
                            <a:pt x="1627" y="258"/>
                            <a:pt x="1627" y="230"/>
                          </a:cubicBezTo>
                          <a:cubicBezTo>
                            <a:pt x="1627" y="145"/>
                            <a:pt x="1627" y="145"/>
                            <a:pt x="1627" y="145"/>
                          </a:cubicBezTo>
                          <a:cubicBezTo>
                            <a:pt x="1602" y="145"/>
                            <a:pt x="1602" y="145"/>
                            <a:pt x="1602" y="145"/>
                          </a:cubicBezTo>
                          <a:cubicBezTo>
                            <a:pt x="1602" y="125"/>
                            <a:pt x="1602" y="125"/>
                            <a:pt x="1602" y="125"/>
                          </a:cubicBezTo>
                          <a:cubicBezTo>
                            <a:pt x="1627" y="125"/>
                            <a:pt x="1627" y="125"/>
                            <a:pt x="1627" y="125"/>
                          </a:cubicBezTo>
                          <a:cubicBezTo>
                            <a:pt x="1627" y="90"/>
                            <a:pt x="1627" y="90"/>
                            <a:pt x="1627" y="90"/>
                          </a:cubicBezTo>
                          <a:cubicBezTo>
                            <a:pt x="1650" y="83"/>
                            <a:pt x="1650" y="83"/>
                            <a:pt x="1650" y="83"/>
                          </a:cubicBezTo>
                          <a:cubicBezTo>
                            <a:pt x="1650" y="125"/>
                            <a:pt x="1650" y="125"/>
                            <a:pt x="1650" y="125"/>
                          </a:cubicBezTo>
                          <a:cubicBezTo>
                            <a:pt x="1686" y="125"/>
                            <a:pt x="1686" y="125"/>
                            <a:pt x="1686" y="125"/>
                          </a:cubicBezTo>
                          <a:cubicBezTo>
                            <a:pt x="1686" y="145"/>
                            <a:pt x="1686" y="145"/>
                            <a:pt x="1686" y="145"/>
                          </a:cubicBezTo>
                          <a:cubicBezTo>
                            <a:pt x="1650" y="145"/>
                            <a:pt x="1650" y="145"/>
                            <a:pt x="1650" y="145"/>
                          </a:cubicBezTo>
                          <a:cubicBezTo>
                            <a:pt x="1650" y="226"/>
                            <a:pt x="1650" y="226"/>
                            <a:pt x="1650" y="226"/>
                          </a:cubicBezTo>
                          <a:cubicBezTo>
                            <a:pt x="1650" y="236"/>
                            <a:pt x="1651" y="243"/>
                            <a:pt x="1655" y="247"/>
                          </a:cubicBezTo>
                          <a:cubicBezTo>
                            <a:pt x="1658" y="251"/>
                            <a:pt x="1664" y="253"/>
                            <a:pt x="1671" y="253"/>
                          </a:cubicBezTo>
                          <a:cubicBezTo>
                            <a:pt x="1677" y="253"/>
                            <a:pt x="1682" y="251"/>
                            <a:pt x="1686" y="248"/>
                          </a:cubicBezTo>
                          <a:lnTo>
                            <a:pt x="1686" y="268"/>
                          </a:lnTo>
                          <a:close/>
                          <a:moveTo>
                            <a:pt x="196" y="336"/>
                          </a:moveTo>
                          <a:cubicBezTo>
                            <a:pt x="0" y="301"/>
                            <a:pt x="0" y="301"/>
                            <a:pt x="0" y="301"/>
                          </a:cubicBezTo>
                          <a:cubicBezTo>
                            <a:pt x="0" y="35"/>
                            <a:pt x="0" y="35"/>
                            <a:pt x="0" y="35"/>
                          </a:cubicBezTo>
                          <a:cubicBezTo>
                            <a:pt x="196" y="0"/>
                            <a:pt x="196" y="0"/>
                            <a:pt x="196" y="0"/>
                          </a:cubicBezTo>
                          <a:lnTo>
                            <a:pt x="196" y="336"/>
                          </a:lnTo>
                          <a:close/>
                          <a:moveTo>
                            <a:pt x="93" y="98"/>
                          </a:moveTo>
                          <a:cubicBezTo>
                            <a:pt x="90" y="98"/>
                            <a:pt x="87" y="98"/>
                            <a:pt x="85" y="99"/>
                          </a:cubicBezTo>
                          <a:cubicBezTo>
                            <a:pt x="82" y="99"/>
                            <a:pt x="79" y="100"/>
                            <a:pt x="77" y="101"/>
                          </a:cubicBezTo>
                          <a:cubicBezTo>
                            <a:pt x="75" y="102"/>
                            <a:pt x="73" y="104"/>
                            <a:pt x="71" y="105"/>
                          </a:cubicBezTo>
                          <a:cubicBezTo>
                            <a:pt x="69" y="107"/>
                            <a:pt x="67" y="108"/>
                            <a:pt x="65" y="110"/>
                          </a:cubicBezTo>
                          <a:cubicBezTo>
                            <a:pt x="64" y="112"/>
                            <a:pt x="62" y="114"/>
                            <a:pt x="61" y="116"/>
                          </a:cubicBezTo>
                          <a:cubicBezTo>
                            <a:pt x="60" y="118"/>
                            <a:pt x="58" y="121"/>
                            <a:pt x="58" y="123"/>
                          </a:cubicBezTo>
                          <a:cubicBezTo>
                            <a:pt x="57" y="126"/>
                            <a:pt x="56" y="128"/>
                            <a:pt x="56" y="131"/>
                          </a:cubicBezTo>
                          <a:cubicBezTo>
                            <a:pt x="55" y="134"/>
                            <a:pt x="55" y="136"/>
                            <a:pt x="55" y="139"/>
                          </a:cubicBezTo>
                          <a:cubicBezTo>
                            <a:pt x="55" y="143"/>
                            <a:pt x="56" y="147"/>
                            <a:pt x="57" y="151"/>
                          </a:cubicBezTo>
                          <a:cubicBezTo>
                            <a:pt x="58" y="155"/>
                            <a:pt x="59" y="158"/>
                            <a:pt x="61" y="161"/>
                          </a:cubicBezTo>
                          <a:cubicBezTo>
                            <a:pt x="63" y="165"/>
                            <a:pt x="65" y="168"/>
                            <a:pt x="68" y="170"/>
                          </a:cubicBezTo>
                          <a:cubicBezTo>
                            <a:pt x="71" y="173"/>
                            <a:pt x="75" y="176"/>
                            <a:pt x="79" y="178"/>
                          </a:cubicBezTo>
                          <a:cubicBezTo>
                            <a:pt x="80" y="179"/>
                            <a:pt x="82" y="181"/>
                            <a:pt x="83" y="181"/>
                          </a:cubicBezTo>
                          <a:cubicBezTo>
                            <a:pt x="85" y="182"/>
                            <a:pt x="86" y="183"/>
                            <a:pt x="87" y="184"/>
                          </a:cubicBezTo>
                          <a:cubicBezTo>
                            <a:pt x="89" y="185"/>
                            <a:pt x="90" y="186"/>
                            <a:pt x="91" y="187"/>
                          </a:cubicBezTo>
                          <a:cubicBezTo>
                            <a:pt x="92" y="188"/>
                            <a:pt x="92" y="188"/>
                            <a:pt x="93" y="189"/>
                          </a:cubicBezTo>
                          <a:cubicBezTo>
                            <a:pt x="94" y="190"/>
                            <a:pt x="95" y="191"/>
                            <a:pt x="95" y="192"/>
                          </a:cubicBezTo>
                          <a:cubicBezTo>
                            <a:pt x="96" y="193"/>
                            <a:pt x="96" y="194"/>
                            <a:pt x="97" y="195"/>
                          </a:cubicBezTo>
                          <a:cubicBezTo>
                            <a:pt x="97" y="196"/>
                            <a:pt x="98" y="197"/>
                            <a:pt x="98" y="198"/>
                          </a:cubicBezTo>
                          <a:cubicBezTo>
                            <a:pt x="98" y="199"/>
                            <a:pt x="98" y="200"/>
                            <a:pt x="98" y="201"/>
                          </a:cubicBezTo>
                          <a:cubicBezTo>
                            <a:pt x="98" y="202"/>
                            <a:pt x="98" y="203"/>
                            <a:pt x="98" y="204"/>
                          </a:cubicBezTo>
                          <a:cubicBezTo>
                            <a:pt x="98" y="205"/>
                            <a:pt x="98" y="206"/>
                            <a:pt x="97" y="207"/>
                          </a:cubicBezTo>
                          <a:cubicBezTo>
                            <a:pt x="97" y="207"/>
                            <a:pt x="97" y="208"/>
                            <a:pt x="96" y="209"/>
                          </a:cubicBezTo>
                          <a:cubicBezTo>
                            <a:pt x="96" y="209"/>
                            <a:pt x="95" y="210"/>
                            <a:pt x="95" y="211"/>
                          </a:cubicBezTo>
                          <a:cubicBezTo>
                            <a:pt x="94" y="211"/>
                            <a:pt x="93" y="212"/>
                            <a:pt x="92" y="213"/>
                          </a:cubicBezTo>
                          <a:cubicBezTo>
                            <a:pt x="92" y="213"/>
                            <a:pt x="91" y="214"/>
                            <a:pt x="90" y="214"/>
                          </a:cubicBezTo>
                          <a:cubicBezTo>
                            <a:pt x="89" y="214"/>
                            <a:pt x="88" y="214"/>
                            <a:pt x="86" y="215"/>
                          </a:cubicBezTo>
                          <a:cubicBezTo>
                            <a:pt x="85" y="215"/>
                            <a:pt x="84" y="215"/>
                            <a:pt x="83" y="215"/>
                          </a:cubicBezTo>
                          <a:cubicBezTo>
                            <a:pt x="80" y="215"/>
                            <a:pt x="78" y="214"/>
                            <a:pt x="75" y="214"/>
                          </a:cubicBezTo>
                          <a:cubicBezTo>
                            <a:pt x="73" y="213"/>
                            <a:pt x="71" y="212"/>
                            <a:pt x="68" y="211"/>
                          </a:cubicBezTo>
                          <a:cubicBezTo>
                            <a:pt x="66" y="209"/>
                            <a:pt x="64" y="208"/>
                            <a:pt x="62" y="206"/>
                          </a:cubicBezTo>
                          <a:cubicBezTo>
                            <a:pt x="60" y="204"/>
                            <a:pt x="58" y="202"/>
                            <a:pt x="56" y="200"/>
                          </a:cubicBezTo>
                          <a:cubicBezTo>
                            <a:pt x="56" y="230"/>
                            <a:pt x="56" y="230"/>
                            <a:pt x="56" y="230"/>
                          </a:cubicBezTo>
                          <a:cubicBezTo>
                            <a:pt x="57" y="231"/>
                            <a:pt x="59" y="232"/>
                            <a:pt x="61" y="233"/>
                          </a:cubicBezTo>
                          <a:cubicBezTo>
                            <a:pt x="63" y="234"/>
                            <a:pt x="65" y="235"/>
                            <a:pt x="67" y="236"/>
                          </a:cubicBezTo>
                          <a:cubicBezTo>
                            <a:pt x="70" y="237"/>
                            <a:pt x="72" y="237"/>
                            <a:pt x="74" y="238"/>
                          </a:cubicBezTo>
                          <a:cubicBezTo>
                            <a:pt x="77" y="238"/>
                            <a:pt x="79" y="239"/>
                            <a:pt x="82" y="239"/>
                          </a:cubicBezTo>
                          <a:cubicBezTo>
                            <a:pt x="86" y="239"/>
                            <a:pt x="89" y="239"/>
                            <a:pt x="92" y="239"/>
                          </a:cubicBezTo>
                          <a:cubicBezTo>
                            <a:pt x="96" y="238"/>
                            <a:pt x="99" y="238"/>
                            <a:pt x="101" y="237"/>
                          </a:cubicBezTo>
                          <a:cubicBezTo>
                            <a:pt x="104" y="236"/>
                            <a:pt x="107" y="235"/>
                            <a:pt x="109" y="233"/>
                          </a:cubicBezTo>
                          <a:cubicBezTo>
                            <a:pt x="111" y="231"/>
                            <a:pt x="113" y="230"/>
                            <a:pt x="115" y="227"/>
                          </a:cubicBezTo>
                          <a:cubicBezTo>
                            <a:pt x="117" y="226"/>
                            <a:pt x="118" y="224"/>
                            <a:pt x="119" y="222"/>
                          </a:cubicBezTo>
                          <a:cubicBezTo>
                            <a:pt x="120" y="220"/>
                            <a:pt x="121" y="218"/>
                            <a:pt x="122" y="215"/>
                          </a:cubicBezTo>
                          <a:cubicBezTo>
                            <a:pt x="123" y="213"/>
                            <a:pt x="123" y="210"/>
                            <a:pt x="124" y="208"/>
                          </a:cubicBezTo>
                          <a:cubicBezTo>
                            <a:pt x="124" y="205"/>
                            <a:pt x="124" y="202"/>
                            <a:pt x="124" y="199"/>
                          </a:cubicBezTo>
                          <a:cubicBezTo>
                            <a:pt x="124" y="197"/>
                            <a:pt x="124" y="194"/>
                            <a:pt x="124" y="192"/>
                          </a:cubicBezTo>
                          <a:cubicBezTo>
                            <a:pt x="124" y="190"/>
                            <a:pt x="123" y="188"/>
                            <a:pt x="122" y="186"/>
                          </a:cubicBezTo>
                          <a:cubicBezTo>
                            <a:pt x="122" y="183"/>
                            <a:pt x="121" y="181"/>
                            <a:pt x="120" y="179"/>
                          </a:cubicBezTo>
                          <a:cubicBezTo>
                            <a:pt x="119" y="178"/>
                            <a:pt x="118" y="176"/>
                            <a:pt x="117" y="174"/>
                          </a:cubicBezTo>
                          <a:cubicBezTo>
                            <a:pt x="116" y="173"/>
                            <a:pt x="114" y="171"/>
                            <a:pt x="113" y="170"/>
                          </a:cubicBezTo>
                          <a:cubicBezTo>
                            <a:pt x="112" y="168"/>
                            <a:pt x="110" y="167"/>
                            <a:pt x="108" y="165"/>
                          </a:cubicBezTo>
                          <a:cubicBezTo>
                            <a:pt x="106" y="164"/>
                            <a:pt x="105" y="162"/>
                            <a:pt x="102" y="161"/>
                          </a:cubicBezTo>
                          <a:cubicBezTo>
                            <a:pt x="100" y="160"/>
                            <a:pt x="98" y="158"/>
                            <a:pt x="96" y="157"/>
                          </a:cubicBezTo>
                          <a:cubicBezTo>
                            <a:pt x="94" y="156"/>
                            <a:pt x="93" y="155"/>
                            <a:pt x="91" y="154"/>
                          </a:cubicBezTo>
                          <a:cubicBezTo>
                            <a:pt x="90" y="153"/>
                            <a:pt x="89" y="152"/>
                            <a:pt x="88" y="151"/>
                          </a:cubicBezTo>
                          <a:cubicBezTo>
                            <a:pt x="87" y="151"/>
                            <a:pt x="86" y="150"/>
                            <a:pt x="85" y="149"/>
                          </a:cubicBezTo>
                          <a:cubicBezTo>
                            <a:pt x="84" y="148"/>
                            <a:pt x="83" y="148"/>
                            <a:pt x="83" y="147"/>
                          </a:cubicBezTo>
                          <a:cubicBezTo>
                            <a:pt x="82" y="146"/>
                            <a:pt x="82" y="145"/>
                            <a:pt x="81" y="145"/>
                          </a:cubicBezTo>
                          <a:cubicBezTo>
                            <a:pt x="81" y="144"/>
                            <a:pt x="81" y="143"/>
                            <a:pt x="80" y="142"/>
                          </a:cubicBezTo>
                          <a:cubicBezTo>
                            <a:pt x="80" y="141"/>
                            <a:pt x="80" y="140"/>
                            <a:pt x="80" y="139"/>
                          </a:cubicBezTo>
                          <a:cubicBezTo>
                            <a:pt x="79" y="138"/>
                            <a:pt x="79" y="137"/>
                            <a:pt x="79" y="136"/>
                          </a:cubicBezTo>
                          <a:cubicBezTo>
                            <a:pt x="79" y="135"/>
                            <a:pt x="79" y="134"/>
                            <a:pt x="80" y="133"/>
                          </a:cubicBezTo>
                          <a:cubicBezTo>
                            <a:pt x="80" y="132"/>
                            <a:pt x="80" y="131"/>
                            <a:pt x="80" y="131"/>
                          </a:cubicBezTo>
                          <a:cubicBezTo>
                            <a:pt x="81" y="130"/>
                            <a:pt x="81" y="129"/>
                            <a:pt x="82" y="128"/>
                          </a:cubicBezTo>
                          <a:cubicBezTo>
                            <a:pt x="82" y="127"/>
                            <a:pt x="83" y="127"/>
                            <a:pt x="83" y="126"/>
                          </a:cubicBezTo>
                          <a:cubicBezTo>
                            <a:pt x="84" y="125"/>
                            <a:pt x="85" y="125"/>
                            <a:pt x="86" y="124"/>
                          </a:cubicBezTo>
                          <a:cubicBezTo>
                            <a:pt x="86" y="124"/>
                            <a:pt x="87" y="123"/>
                            <a:pt x="88" y="123"/>
                          </a:cubicBezTo>
                          <a:cubicBezTo>
                            <a:pt x="89" y="123"/>
                            <a:pt x="90" y="122"/>
                            <a:pt x="91" y="122"/>
                          </a:cubicBezTo>
                          <a:cubicBezTo>
                            <a:pt x="92" y="122"/>
                            <a:pt x="93" y="122"/>
                            <a:pt x="94" y="122"/>
                          </a:cubicBezTo>
                          <a:cubicBezTo>
                            <a:pt x="96" y="122"/>
                            <a:pt x="99" y="122"/>
                            <a:pt x="101" y="122"/>
                          </a:cubicBezTo>
                          <a:cubicBezTo>
                            <a:pt x="103" y="122"/>
                            <a:pt x="105" y="123"/>
                            <a:pt x="107" y="124"/>
                          </a:cubicBezTo>
                          <a:cubicBezTo>
                            <a:pt x="110" y="124"/>
                            <a:pt x="112" y="125"/>
                            <a:pt x="114" y="126"/>
                          </a:cubicBezTo>
                          <a:cubicBezTo>
                            <a:pt x="116" y="128"/>
                            <a:pt x="118" y="129"/>
                            <a:pt x="119" y="131"/>
                          </a:cubicBezTo>
                          <a:cubicBezTo>
                            <a:pt x="119" y="101"/>
                            <a:pt x="119" y="101"/>
                            <a:pt x="119" y="101"/>
                          </a:cubicBezTo>
                          <a:cubicBezTo>
                            <a:pt x="118" y="100"/>
                            <a:pt x="116" y="100"/>
                            <a:pt x="114" y="99"/>
                          </a:cubicBezTo>
                          <a:cubicBezTo>
                            <a:pt x="112" y="99"/>
                            <a:pt x="110" y="98"/>
                            <a:pt x="107" y="98"/>
                          </a:cubicBezTo>
                          <a:cubicBezTo>
                            <a:pt x="105" y="98"/>
                            <a:pt x="103" y="97"/>
                            <a:pt x="100" y="97"/>
                          </a:cubicBezTo>
                          <a:cubicBezTo>
                            <a:pt x="98" y="97"/>
                            <a:pt x="95" y="97"/>
                            <a:pt x="93" y="98"/>
                          </a:cubicBezTo>
                          <a:moveTo>
                            <a:pt x="324" y="135"/>
                          </a:moveTo>
                          <a:cubicBezTo>
                            <a:pt x="322" y="135"/>
                            <a:pt x="320" y="135"/>
                            <a:pt x="318" y="136"/>
                          </a:cubicBezTo>
                          <a:cubicBezTo>
                            <a:pt x="309" y="113"/>
                            <a:pt x="292" y="95"/>
                            <a:pt x="270" y="86"/>
                          </a:cubicBezTo>
                          <a:cubicBezTo>
                            <a:pt x="270" y="84"/>
                            <a:pt x="270" y="82"/>
                            <a:pt x="270" y="80"/>
                          </a:cubicBezTo>
                          <a:cubicBezTo>
                            <a:pt x="270" y="61"/>
                            <a:pt x="256" y="47"/>
                            <a:pt x="238" y="47"/>
                          </a:cubicBezTo>
                          <a:cubicBezTo>
                            <a:pt x="229" y="47"/>
                            <a:pt x="221" y="50"/>
                            <a:pt x="215" y="57"/>
                          </a:cubicBezTo>
                          <a:cubicBezTo>
                            <a:pt x="215" y="103"/>
                            <a:pt x="215" y="103"/>
                            <a:pt x="215" y="103"/>
                          </a:cubicBezTo>
                          <a:cubicBezTo>
                            <a:pt x="221" y="109"/>
                            <a:pt x="229" y="113"/>
                            <a:pt x="238" y="113"/>
                          </a:cubicBezTo>
                          <a:cubicBezTo>
                            <a:pt x="248" y="113"/>
                            <a:pt x="256" y="109"/>
                            <a:pt x="262" y="102"/>
                          </a:cubicBezTo>
                          <a:cubicBezTo>
                            <a:pt x="281" y="109"/>
                            <a:pt x="295" y="125"/>
                            <a:pt x="302" y="144"/>
                          </a:cubicBezTo>
                          <a:cubicBezTo>
                            <a:pt x="296" y="150"/>
                            <a:pt x="292" y="159"/>
                            <a:pt x="292" y="168"/>
                          </a:cubicBezTo>
                          <a:cubicBezTo>
                            <a:pt x="292" y="178"/>
                            <a:pt x="296" y="187"/>
                            <a:pt x="302" y="193"/>
                          </a:cubicBezTo>
                          <a:cubicBezTo>
                            <a:pt x="295" y="212"/>
                            <a:pt x="281" y="227"/>
                            <a:pt x="262" y="235"/>
                          </a:cubicBezTo>
                          <a:cubicBezTo>
                            <a:pt x="256" y="228"/>
                            <a:pt x="247" y="224"/>
                            <a:pt x="238" y="224"/>
                          </a:cubicBezTo>
                          <a:cubicBezTo>
                            <a:pt x="229" y="224"/>
                            <a:pt x="221" y="228"/>
                            <a:pt x="215" y="234"/>
                          </a:cubicBezTo>
                          <a:cubicBezTo>
                            <a:pt x="215" y="280"/>
                            <a:pt x="215" y="280"/>
                            <a:pt x="215" y="280"/>
                          </a:cubicBezTo>
                          <a:cubicBezTo>
                            <a:pt x="221" y="286"/>
                            <a:pt x="229" y="290"/>
                            <a:pt x="238" y="290"/>
                          </a:cubicBezTo>
                          <a:cubicBezTo>
                            <a:pt x="256" y="290"/>
                            <a:pt x="270" y="275"/>
                            <a:pt x="270" y="257"/>
                          </a:cubicBezTo>
                          <a:cubicBezTo>
                            <a:pt x="270" y="255"/>
                            <a:pt x="270" y="253"/>
                            <a:pt x="270" y="251"/>
                          </a:cubicBezTo>
                          <a:cubicBezTo>
                            <a:pt x="292" y="241"/>
                            <a:pt x="309" y="224"/>
                            <a:pt x="318" y="201"/>
                          </a:cubicBezTo>
                          <a:cubicBezTo>
                            <a:pt x="320" y="201"/>
                            <a:pt x="322" y="202"/>
                            <a:pt x="324" y="202"/>
                          </a:cubicBezTo>
                          <a:cubicBezTo>
                            <a:pt x="342" y="202"/>
                            <a:pt x="356" y="187"/>
                            <a:pt x="356" y="168"/>
                          </a:cubicBezTo>
                          <a:cubicBezTo>
                            <a:pt x="356" y="150"/>
                            <a:pt x="342" y="135"/>
                            <a:pt x="324" y="135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89603" tIns="44802" rIns="89603" bIns="44802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39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3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20" name="Picture 19"/>
                    <p:cNvPicPr>
                      <a:picLocks noChangeAspect="1"/>
                    </p:cNvPicPr>
                    <p:nvPr/>
                  </p:nvPicPr>
                  <p:blipFill>
                    <a:blip r:embed="rId3" cstate="screen">
                      <a:duotone>
                        <a:schemeClr val="accent1">
                          <a:shade val="45000"/>
                          <a:satMod val="135000"/>
                        </a:schemeClr>
                        <a:prstClr val="white"/>
                      </a:duoton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41012" y="5413979"/>
                      <a:ext cx="393511" cy="39351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24" name="Group 23"/>
                    <p:cNvGrpSpPr/>
                    <p:nvPr/>
                  </p:nvGrpSpPr>
                  <p:grpSpPr>
                    <a:xfrm>
                      <a:off x="9360919" y="5487732"/>
                      <a:ext cx="1934722" cy="359682"/>
                      <a:chOff x="9300595" y="5074982"/>
                      <a:chExt cx="1934722" cy="359682"/>
                    </a:xfrm>
                  </p:grpSpPr>
                  <p:pic>
                    <p:nvPicPr>
                      <p:cNvPr id="28" name="Picture 27"/>
                      <p:cNvPicPr>
                        <a:picLocks noChangeAspect="1"/>
                      </p:cNvPicPr>
                      <p:nvPr/>
                    </p:nvPicPr>
                    <p:blipFill>
                      <a:blip r:embed="rId4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300595" y="5143258"/>
                        <a:ext cx="437706" cy="22312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9" name="Picture 28"/>
                      <p:cNvPicPr>
                        <a:picLocks noChangeAspect="1"/>
                      </p:cNvPicPr>
                      <p:nvPr/>
                    </p:nvPicPr>
                    <p:blipFill>
                      <a:blip r:embed="rId5" cstate="screen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936058" y="5225368"/>
                        <a:ext cx="583656" cy="82751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34" name="Freeform 5"/>
                      <p:cNvSpPr>
                        <a:spLocks noChangeAspect="1" noEditPoints="1"/>
                      </p:cNvSpPr>
                      <p:nvPr/>
                    </p:nvSpPr>
                    <p:spPr bwMode="auto">
                      <a:xfrm>
                        <a:off x="11043107" y="5074982"/>
                        <a:ext cx="192210" cy="359682"/>
                      </a:xfrm>
                      <a:custGeom>
                        <a:avLst/>
                        <a:gdLst>
                          <a:gd name="T0" fmla="*/ 77 w 83"/>
                          <a:gd name="T1" fmla="*/ 151 h 157"/>
                          <a:gd name="T2" fmla="*/ 6 w 83"/>
                          <a:gd name="T3" fmla="*/ 6 h 157"/>
                          <a:gd name="T4" fmla="*/ 83 w 83"/>
                          <a:gd name="T5" fmla="*/ 0 h 157"/>
                          <a:gd name="T6" fmla="*/ 6 w 83"/>
                          <a:gd name="T7" fmla="*/ 0 h 157"/>
                          <a:gd name="T8" fmla="*/ 0 w 83"/>
                          <a:gd name="T9" fmla="*/ 6 h 157"/>
                          <a:gd name="T10" fmla="*/ 0 w 83"/>
                          <a:gd name="T11" fmla="*/ 157 h 157"/>
                          <a:gd name="T12" fmla="*/ 77 w 83"/>
                          <a:gd name="T13" fmla="*/ 157 h 157"/>
                          <a:gd name="T14" fmla="*/ 83 w 83"/>
                          <a:gd name="T15" fmla="*/ 151 h 157"/>
                          <a:gd name="T16" fmla="*/ 83 w 83"/>
                          <a:gd name="T17" fmla="*/ 0 h 157"/>
                          <a:gd name="T18" fmla="*/ 15 w 83"/>
                          <a:gd name="T19" fmla="*/ 102 h 157"/>
                          <a:gd name="T20" fmla="*/ 20 w 83"/>
                          <a:gd name="T21" fmla="*/ 102 h 157"/>
                          <a:gd name="T22" fmla="*/ 26 w 83"/>
                          <a:gd name="T23" fmla="*/ 104 h 157"/>
                          <a:gd name="T24" fmla="*/ 26 w 83"/>
                          <a:gd name="T25" fmla="*/ 99 h 157"/>
                          <a:gd name="T26" fmla="*/ 26 w 83"/>
                          <a:gd name="T27" fmla="*/ 104 h 157"/>
                          <a:gd name="T28" fmla="*/ 67 w 83"/>
                          <a:gd name="T29" fmla="*/ 89 h 157"/>
                          <a:gd name="T30" fmla="*/ 15 w 83"/>
                          <a:gd name="T31" fmla="*/ 88 h 157"/>
                          <a:gd name="T32" fmla="*/ 17 w 83"/>
                          <a:gd name="T33" fmla="*/ 79 h 157"/>
                          <a:gd name="T34" fmla="*/ 68 w 83"/>
                          <a:gd name="T35" fmla="*/ 80 h 157"/>
                          <a:gd name="T36" fmla="*/ 68 w 83"/>
                          <a:gd name="T37" fmla="*/ 88 h 157"/>
                          <a:gd name="T38" fmla="*/ 67 w 83"/>
                          <a:gd name="T39" fmla="*/ 74 h 157"/>
                          <a:gd name="T40" fmla="*/ 15 w 83"/>
                          <a:gd name="T41" fmla="*/ 72 h 157"/>
                          <a:gd name="T42" fmla="*/ 17 w 83"/>
                          <a:gd name="T43" fmla="*/ 63 h 157"/>
                          <a:gd name="T44" fmla="*/ 68 w 83"/>
                          <a:gd name="T45" fmla="*/ 64 h 157"/>
                          <a:gd name="T46" fmla="*/ 68 w 83"/>
                          <a:gd name="T47" fmla="*/ 72 h 157"/>
                          <a:gd name="T48" fmla="*/ 67 w 83"/>
                          <a:gd name="T49" fmla="*/ 58 h 157"/>
                          <a:gd name="T50" fmla="*/ 15 w 83"/>
                          <a:gd name="T51" fmla="*/ 57 h 157"/>
                          <a:gd name="T52" fmla="*/ 17 w 83"/>
                          <a:gd name="T53" fmla="*/ 47 h 157"/>
                          <a:gd name="T54" fmla="*/ 68 w 83"/>
                          <a:gd name="T55" fmla="*/ 49 h 157"/>
                          <a:gd name="T56" fmla="*/ 68 w 83"/>
                          <a:gd name="T57" fmla="*/ 57 h 157"/>
                          <a:gd name="T58" fmla="*/ 67 w 83"/>
                          <a:gd name="T59" fmla="*/ 42 h 157"/>
                          <a:gd name="T60" fmla="*/ 15 w 83"/>
                          <a:gd name="T61" fmla="*/ 41 h 157"/>
                          <a:gd name="T62" fmla="*/ 17 w 83"/>
                          <a:gd name="T63" fmla="*/ 31 h 157"/>
                          <a:gd name="T64" fmla="*/ 68 w 83"/>
                          <a:gd name="T65" fmla="*/ 33 h 157"/>
                          <a:gd name="T66" fmla="*/ 68 w 83"/>
                          <a:gd name="T67" fmla="*/ 41 h 157"/>
                          <a:gd name="T68" fmla="*/ 67 w 83"/>
                          <a:gd name="T69" fmla="*/ 27 h 157"/>
                          <a:gd name="T70" fmla="*/ 15 w 83"/>
                          <a:gd name="T71" fmla="*/ 25 h 157"/>
                          <a:gd name="T72" fmla="*/ 17 w 83"/>
                          <a:gd name="T73" fmla="*/ 16 h 157"/>
                          <a:gd name="T74" fmla="*/ 68 w 83"/>
                          <a:gd name="T75" fmla="*/ 17 h 157"/>
                          <a:gd name="T76" fmla="*/ 68 w 83"/>
                          <a:gd name="T77" fmla="*/ 25 h 1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83" h="157">
                            <a:moveTo>
                              <a:pt x="77" y="6"/>
                            </a:moveTo>
                            <a:cubicBezTo>
                              <a:pt x="77" y="151"/>
                              <a:pt x="77" y="151"/>
                              <a:pt x="77" y="151"/>
                            </a:cubicBezTo>
                            <a:cubicBezTo>
                              <a:pt x="6" y="151"/>
                              <a:pt x="6" y="151"/>
                              <a:pt x="6" y="151"/>
                            </a:cubicBezTo>
                            <a:cubicBezTo>
                              <a:pt x="6" y="6"/>
                              <a:pt x="6" y="6"/>
                              <a:pt x="6" y="6"/>
                            </a:cubicBezTo>
                            <a:cubicBezTo>
                              <a:pt x="77" y="6"/>
                              <a:pt x="77" y="6"/>
                              <a:pt x="77" y="6"/>
                            </a:cubicBezTo>
                            <a:moveTo>
                              <a:pt x="83" y="0"/>
                            </a:moveTo>
                            <a:cubicBezTo>
                              <a:pt x="77" y="0"/>
                              <a:pt x="77" y="0"/>
                              <a:pt x="77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6"/>
                              <a:pt x="0" y="6"/>
                              <a:pt x="0" y="6"/>
                            </a:cubicBezTo>
                            <a:cubicBezTo>
                              <a:pt x="0" y="151"/>
                              <a:pt x="0" y="151"/>
                              <a:pt x="0" y="151"/>
                            </a:cubicBezTo>
                            <a:cubicBezTo>
                              <a:pt x="0" y="157"/>
                              <a:pt x="0" y="157"/>
                              <a:pt x="0" y="157"/>
                            </a:cubicBezTo>
                            <a:cubicBezTo>
                              <a:pt x="6" y="157"/>
                              <a:pt x="6" y="157"/>
                              <a:pt x="6" y="157"/>
                            </a:cubicBezTo>
                            <a:cubicBezTo>
                              <a:pt x="77" y="157"/>
                              <a:pt x="77" y="157"/>
                              <a:pt x="77" y="157"/>
                            </a:cubicBezTo>
                            <a:cubicBezTo>
                              <a:pt x="83" y="157"/>
                              <a:pt x="83" y="157"/>
                              <a:pt x="83" y="157"/>
                            </a:cubicBezTo>
                            <a:cubicBezTo>
                              <a:pt x="83" y="151"/>
                              <a:pt x="83" y="151"/>
                              <a:pt x="83" y="151"/>
                            </a:cubicBezTo>
                            <a:cubicBezTo>
                              <a:pt x="83" y="6"/>
                              <a:pt x="83" y="6"/>
                              <a:pt x="83" y="6"/>
                            </a:cubicBezTo>
                            <a:cubicBezTo>
                              <a:pt x="83" y="0"/>
                              <a:pt x="83" y="0"/>
                              <a:pt x="83" y="0"/>
                            </a:cubicBezTo>
                            <a:close/>
                            <a:moveTo>
                              <a:pt x="18" y="104"/>
                            </a:moveTo>
                            <a:cubicBezTo>
                              <a:pt x="16" y="104"/>
                              <a:pt x="15" y="103"/>
                              <a:pt x="15" y="102"/>
                            </a:cubicBezTo>
                            <a:cubicBezTo>
                              <a:pt x="15" y="100"/>
                              <a:pt x="16" y="99"/>
                              <a:pt x="18" y="99"/>
                            </a:cubicBezTo>
                            <a:cubicBezTo>
                              <a:pt x="19" y="99"/>
                              <a:pt x="20" y="100"/>
                              <a:pt x="20" y="102"/>
                            </a:cubicBezTo>
                            <a:cubicBezTo>
                              <a:pt x="20" y="103"/>
                              <a:pt x="19" y="104"/>
                              <a:pt x="18" y="104"/>
                            </a:cubicBezTo>
                            <a:close/>
                            <a:moveTo>
                              <a:pt x="26" y="104"/>
                            </a:moveTo>
                            <a:cubicBezTo>
                              <a:pt x="24" y="104"/>
                              <a:pt x="23" y="103"/>
                              <a:pt x="23" y="102"/>
                            </a:cubicBezTo>
                            <a:cubicBezTo>
                              <a:pt x="23" y="100"/>
                              <a:pt x="24" y="99"/>
                              <a:pt x="26" y="99"/>
                            </a:cubicBezTo>
                            <a:cubicBezTo>
                              <a:pt x="27" y="99"/>
                              <a:pt x="28" y="100"/>
                              <a:pt x="28" y="102"/>
                            </a:cubicBezTo>
                            <a:cubicBezTo>
                              <a:pt x="28" y="103"/>
                              <a:pt x="27" y="104"/>
                              <a:pt x="26" y="104"/>
                            </a:cubicBezTo>
                            <a:close/>
                            <a:moveTo>
                              <a:pt x="68" y="88"/>
                            </a:moveTo>
                            <a:cubicBezTo>
                              <a:pt x="68" y="89"/>
                              <a:pt x="67" y="89"/>
                              <a:pt x="67" y="89"/>
                            </a:cubicBezTo>
                            <a:cubicBezTo>
                              <a:pt x="17" y="89"/>
                              <a:pt x="17" y="89"/>
                              <a:pt x="17" y="89"/>
                            </a:cubicBezTo>
                            <a:cubicBezTo>
                              <a:pt x="16" y="89"/>
                              <a:pt x="15" y="89"/>
                              <a:pt x="15" y="88"/>
                            </a:cubicBezTo>
                            <a:cubicBezTo>
                              <a:pt x="15" y="80"/>
                              <a:pt x="15" y="80"/>
                              <a:pt x="15" y="80"/>
                            </a:cubicBezTo>
                            <a:cubicBezTo>
                              <a:pt x="15" y="79"/>
                              <a:pt x="16" y="79"/>
                              <a:pt x="17" y="79"/>
                            </a:cubicBezTo>
                            <a:cubicBezTo>
                              <a:pt x="67" y="79"/>
                              <a:pt x="67" y="79"/>
                              <a:pt x="67" y="79"/>
                            </a:cubicBezTo>
                            <a:cubicBezTo>
                              <a:pt x="67" y="79"/>
                              <a:pt x="68" y="79"/>
                              <a:pt x="68" y="80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lose/>
                            <a:moveTo>
                              <a:pt x="68" y="72"/>
                            </a:moveTo>
                            <a:cubicBezTo>
                              <a:pt x="68" y="73"/>
                              <a:pt x="67" y="74"/>
                              <a:pt x="67" y="74"/>
                            </a:cubicBezTo>
                            <a:cubicBezTo>
                              <a:pt x="17" y="74"/>
                              <a:pt x="17" y="74"/>
                              <a:pt x="17" y="74"/>
                            </a:cubicBezTo>
                            <a:cubicBezTo>
                              <a:pt x="16" y="74"/>
                              <a:pt x="15" y="73"/>
                              <a:pt x="15" y="72"/>
                            </a:cubicBezTo>
                            <a:cubicBezTo>
                              <a:pt x="15" y="64"/>
                              <a:pt x="15" y="64"/>
                              <a:pt x="15" y="64"/>
                            </a:cubicBezTo>
                            <a:cubicBezTo>
                              <a:pt x="15" y="63"/>
                              <a:pt x="16" y="63"/>
                              <a:pt x="17" y="63"/>
                            </a:cubicBezTo>
                            <a:cubicBezTo>
                              <a:pt x="67" y="63"/>
                              <a:pt x="67" y="63"/>
                              <a:pt x="67" y="63"/>
                            </a:cubicBezTo>
                            <a:cubicBezTo>
                              <a:pt x="67" y="63"/>
                              <a:pt x="68" y="63"/>
                              <a:pt x="68" y="64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lose/>
                            <a:moveTo>
                              <a:pt x="68" y="57"/>
                            </a:moveTo>
                            <a:cubicBezTo>
                              <a:pt x="68" y="57"/>
                              <a:pt x="67" y="58"/>
                              <a:pt x="67" y="58"/>
                            </a:cubicBezTo>
                            <a:cubicBezTo>
                              <a:pt x="17" y="58"/>
                              <a:pt x="17" y="58"/>
                              <a:pt x="17" y="58"/>
                            </a:cubicBezTo>
                            <a:cubicBezTo>
                              <a:pt x="16" y="58"/>
                              <a:pt x="15" y="57"/>
                              <a:pt x="15" y="57"/>
                            </a:cubicBezTo>
                            <a:cubicBezTo>
                              <a:pt x="15" y="49"/>
                              <a:pt x="15" y="49"/>
                              <a:pt x="15" y="49"/>
                            </a:cubicBezTo>
                            <a:cubicBezTo>
                              <a:pt x="15" y="48"/>
                              <a:pt x="16" y="47"/>
                              <a:pt x="17" y="47"/>
                            </a:cubicBezTo>
                            <a:cubicBezTo>
                              <a:pt x="67" y="47"/>
                              <a:pt x="67" y="47"/>
                              <a:pt x="67" y="47"/>
                            </a:cubicBezTo>
                            <a:cubicBezTo>
                              <a:pt x="67" y="47"/>
                              <a:pt x="68" y="48"/>
                              <a:pt x="68" y="49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lose/>
                            <a:moveTo>
                              <a:pt x="68" y="41"/>
                            </a:moveTo>
                            <a:cubicBezTo>
                              <a:pt x="68" y="42"/>
                              <a:pt x="67" y="42"/>
                              <a:pt x="67" y="42"/>
                            </a:cubicBezTo>
                            <a:cubicBezTo>
                              <a:pt x="17" y="42"/>
                              <a:pt x="17" y="42"/>
                              <a:pt x="17" y="42"/>
                            </a:cubicBezTo>
                            <a:cubicBezTo>
                              <a:pt x="16" y="42"/>
                              <a:pt x="15" y="42"/>
                              <a:pt x="15" y="41"/>
                            </a:cubicBezTo>
                            <a:cubicBezTo>
                              <a:pt x="15" y="33"/>
                              <a:pt x="15" y="33"/>
                              <a:pt x="15" y="33"/>
                            </a:cubicBezTo>
                            <a:cubicBezTo>
                              <a:pt x="15" y="32"/>
                              <a:pt x="16" y="31"/>
                              <a:pt x="17" y="31"/>
                            </a:cubicBezTo>
                            <a:cubicBezTo>
                              <a:pt x="67" y="31"/>
                              <a:pt x="67" y="31"/>
                              <a:pt x="67" y="31"/>
                            </a:cubicBezTo>
                            <a:cubicBezTo>
                              <a:pt x="67" y="31"/>
                              <a:pt x="68" y="32"/>
                              <a:pt x="68" y="33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lose/>
                            <a:moveTo>
                              <a:pt x="68" y="25"/>
                            </a:moveTo>
                            <a:cubicBezTo>
                              <a:pt x="68" y="26"/>
                              <a:pt x="67" y="27"/>
                              <a:pt x="67" y="27"/>
                            </a:cubicBezTo>
                            <a:cubicBezTo>
                              <a:pt x="17" y="27"/>
                              <a:pt x="17" y="27"/>
                              <a:pt x="17" y="27"/>
                            </a:cubicBezTo>
                            <a:cubicBezTo>
                              <a:pt x="16" y="27"/>
                              <a:pt x="15" y="26"/>
                              <a:pt x="15" y="25"/>
                            </a:cubicBezTo>
                            <a:cubicBezTo>
                              <a:pt x="15" y="17"/>
                              <a:pt x="15" y="17"/>
                              <a:pt x="15" y="17"/>
                            </a:cubicBezTo>
                            <a:cubicBezTo>
                              <a:pt x="15" y="16"/>
                              <a:pt x="16" y="16"/>
                              <a:pt x="17" y="16"/>
                            </a:cubicBezTo>
                            <a:cubicBezTo>
                              <a:pt x="67" y="16"/>
                              <a:pt x="67" y="16"/>
                              <a:pt x="67" y="16"/>
                            </a:cubicBezTo>
                            <a:cubicBezTo>
                              <a:pt x="67" y="16"/>
                              <a:pt x="68" y="16"/>
                              <a:pt x="68" y="17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1"/>
                      </a:solidFill>
                      <a:ln w="2540">
                        <a:noFill/>
                      </a:ln>
                    </p:spPr>
                    <p:txBody>
                      <a:bodyPr vert="horz" wrap="square" lIns="91401" tIns="45700" rIns="91401" bIns="4570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3232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pic>
                <p:nvPicPr>
                  <p:cNvPr id="166" name="Picture 165"/>
                  <p:cNvPicPr>
                    <a:picLocks noChangeAspect="1"/>
                  </p:cNvPicPr>
                  <p:nvPr/>
                </p:nvPicPr>
                <p:blipFill>
                  <a:blip r:embed="rId6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361237" y="5707062"/>
                    <a:ext cx="484512" cy="484512"/>
                  </a:xfrm>
                  <a:prstGeom prst="rect">
                    <a:avLst/>
                  </a:prstGeom>
                </p:spPr>
              </p:pic>
            </p:grpSp>
          </p:grpSp>
        </p:grpSp>
      </p:grpSp>
      <p:grpSp>
        <p:nvGrpSpPr>
          <p:cNvPr id="157" name="Group 156"/>
          <p:cNvGrpSpPr/>
          <p:nvPr/>
        </p:nvGrpSpPr>
        <p:grpSpPr>
          <a:xfrm>
            <a:off x="4618755" y="1465802"/>
            <a:ext cx="1476330" cy="2388574"/>
            <a:chOff x="6482027" y="881592"/>
            <a:chExt cx="1528456" cy="2684511"/>
          </a:xfrm>
        </p:grpSpPr>
        <p:cxnSp>
          <p:nvCxnSpPr>
            <p:cNvPr id="138" name="Straight Connector 137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/>
          <p:cNvSpPr txBox="1"/>
          <p:nvPr/>
        </p:nvSpPr>
        <p:spPr>
          <a:xfrm>
            <a:off x="2953228" y="2808841"/>
            <a:ext cx="1807899" cy="492706"/>
          </a:xfrm>
          <a:prstGeom prst="rect">
            <a:avLst/>
          </a:prstGeom>
          <a:noFill/>
        </p:spPr>
        <p:txBody>
          <a:bodyPr wrap="none" lIns="182802" tIns="146241" rIns="182802" bIns="146241" rtlCol="0">
            <a:spAutoFit/>
          </a:bodyPr>
          <a:lstStyle/>
          <a:p>
            <a:pPr marL="0" marR="0" lvl="0" indent="0" algn="r" defTabSz="9139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gnitive services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5558" y="2807616"/>
            <a:ext cx="516080" cy="495328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3333852" y="2173267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rvice bu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159334" y="3724406"/>
            <a:ext cx="1407610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chine learning 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8253" y="3638414"/>
            <a:ext cx="369927" cy="340767"/>
          </a:xfrm>
          <a:prstGeom prst="rect">
            <a:avLst/>
          </a:prstGeom>
        </p:spPr>
      </p:pic>
      <p:sp>
        <p:nvSpPr>
          <p:cNvPr id="142" name="Rectangle 141"/>
          <p:cNvSpPr/>
          <p:nvPr/>
        </p:nvSpPr>
        <p:spPr bwMode="auto">
          <a:xfrm>
            <a:off x="2952239" y="1392507"/>
            <a:ext cx="1614705" cy="197367"/>
          </a:xfrm>
          <a:prstGeom prst="rect">
            <a:avLst/>
          </a:prstGeom>
          <a:noFill/>
          <a:ln w="130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318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2860" y="2115136"/>
            <a:ext cx="312572" cy="287934"/>
          </a:xfrm>
          <a:prstGeom prst="rect">
            <a:avLst/>
          </a:prstGeom>
        </p:spPr>
      </p:pic>
      <p:grpSp>
        <p:nvGrpSpPr>
          <p:cNvPr id="169" name="Group 168"/>
          <p:cNvGrpSpPr/>
          <p:nvPr/>
        </p:nvGrpSpPr>
        <p:grpSpPr>
          <a:xfrm>
            <a:off x="8504237" y="1211262"/>
            <a:ext cx="1398617" cy="1248446"/>
            <a:chOff x="10693372" y="1242777"/>
            <a:chExt cx="1448001" cy="1403125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 rotWithShape="1">
            <a:blip r:embed="rId10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7200"/>
                      </a14:imgEffect>
                      <a14:imgEffect>
                        <a14:saturation sat="23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93372" y="2182142"/>
              <a:ext cx="1448001" cy="463760"/>
            </a:xfrm>
            <a:prstGeom prst="rect">
              <a:avLst/>
            </a:prstGeom>
            <a:noFill/>
          </p:spPr>
        </p:pic>
        <p:pic>
          <p:nvPicPr>
            <p:cNvPr id="168" name="Picture 16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08416" y="1242777"/>
              <a:ext cx="673820" cy="673820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5929880" y="2350346"/>
            <a:ext cx="1261710" cy="984131"/>
            <a:chOff x="7884216" y="1622064"/>
            <a:chExt cx="1280400" cy="1084166"/>
          </a:xfrm>
        </p:grpSpPr>
        <p:sp>
          <p:nvSpPr>
            <p:cNvPr id="41" name="TextBox 40"/>
            <p:cNvSpPr txBox="1"/>
            <p:nvPr/>
          </p:nvSpPr>
          <p:spPr>
            <a:xfrm>
              <a:off x="7884216" y="2163329"/>
              <a:ext cx="1280400" cy="542901"/>
            </a:xfrm>
            <a:prstGeom prst="rect">
              <a:avLst/>
            </a:prstGeom>
            <a:noFill/>
          </p:spPr>
          <p:txBody>
            <a:bodyPr wrap="none" lIns="182802" tIns="146241" rIns="182802" bIns="146241" rtlCol="0">
              <a:spAutoFit/>
            </a:bodyPr>
            <a:lstStyle/>
            <a:p>
              <a:pPr marL="0" marR="0" lvl="0" indent="0" algn="l" defTabSz="9139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9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gic Apps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9160" y="1622064"/>
              <a:ext cx="618831" cy="618831"/>
            </a:xfrm>
            <a:prstGeom prst="rect">
              <a:avLst/>
            </a:prstGeom>
          </p:spPr>
        </p:pic>
      </p:grpSp>
      <p:pic>
        <p:nvPicPr>
          <p:cNvPr id="1028" name="Picture 4" descr="Image result for docusign logo"/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22506" y="3642443"/>
            <a:ext cx="1481482" cy="40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0" name="Group 79"/>
          <p:cNvGrpSpPr/>
          <p:nvPr/>
        </p:nvGrpSpPr>
        <p:grpSpPr>
          <a:xfrm flipH="1">
            <a:off x="6950562" y="1465802"/>
            <a:ext cx="1476330" cy="2388574"/>
            <a:chOff x="6482027" y="881592"/>
            <a:chExt cx="1528456" cy="2684511"/>
          </a:xfrm>
        </p:grpSpPr>
        <p:cxnSp>
          <p:nvCxnSpPr>
            <p:cNvPr id="81" name="Straight Connector 80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6D2618-3F98-4E7F-8D38-B2D63C32E723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3423" b="100000" l="0" r="100000">
                        <a14:foregroundMark x1="60377" y1="68121" x2="60377" y2="68121"/>
                        <a14:foregroundMark x1="22264" y1="55369" x2="22264" y2="55369"/>
                        <a14:foregroundMark x1="58868" y1="62416" x2="58868" y2="62416"/>
                        <a14:foregroundMark x1="21132" y1="56040" x2="21132" y2="56040"/>
                        <a14:foregroundMark x1="49434" y1="31879" x2="49434" y2="318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0636" y="2744334"/>
            <a:ext cx="431801" cy="4855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900456-8116-48F1-80C6-F76E3DE48CEF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2162" y="1224141"/>
            <a:ext cx="539810" cy="483321"/>
          </a:xfrm>
          <a:prstGeom prst="rect">
            <a:avLst/>
          </a:prstGeom>
        </p:spPr>
      </p:pic>
      <p:sp>
        <p:nvSpPr>
          <p:cNvPr id="65" name="Title 1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</a:t>
            </a:r>
            <a:r>
              <a:rPr kumimoji="0" lang="en-US" sz="4799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nect Everything</a:t>
            </a:r>
            <a:endParaRPr kumimoji="0" lang="en-US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F0AF22E-53D9-4C4D-9FF7-0C0EED89FAC4}"/>
              </a:ext>
            </a:extLst>
          </p:cNvPr>
          <p:cNvSpPr txBox="1"/>
          <p:nvPr/>
        </p:nvSpPr>
        <p:spPr>
          <a:xfrm>
            <a:off x="8389117" y="3268548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365</a:t>
            </a:r>
          </a:p>
        </p:txBody>
      </p:sp>
    </p:spTree>
    <p:extLst>
      <p:ext uri="{BB962C8B-B14F-4D97-AF65-F5344CB8AC3E}">
        <p14:creationId xmlns:p14="http://schemas.microsoft.com/office/powerpoint/2010/main" val="15645519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/>
          </p:cNvSpPr>
          <p:nvPr/>
        </p:nvSpPr>
        <p:spPr>
          <a:xfrm>
            <a:off x="4530030" y="365320"/>
            <a:ext cx="6488127" cy="5172718"/>
          </a:xfrm>
          <a:prstGeom prst="rect">
            <a:avLst/>
          </a:prstGeom>
          <a:noFill/>
        </p:spPr>
        <p:txBody>
          <a:bodyPr wrap="square" lIns="182699" tIns="146159" rIns="182699" bIns="0" numCol="3" rtlCol="0">
            <a:no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ppFigure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an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I Managemen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p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utom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Face AP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LUI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Text Analytic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Vis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ata Lake Sto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ocument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Event 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Machine Lear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Resource Mana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Q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Blo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Queu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seca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ng Search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Buck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l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og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ff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ampfi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mon Data Servi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isqu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cu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rop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AX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Financial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Opera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asy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ventbri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aceboo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Book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it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mai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alend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ontac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Shee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eet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Trai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Webin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arv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ello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usionsof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JIR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ightl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gra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paper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ilChi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ndril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ediu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Translato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SN Weath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uhimbi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PDF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365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 Vide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 for Busine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No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.co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gerDut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nter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pedriv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votal Track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wer B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 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ndGrid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Online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lac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artShe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parkPost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ip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rvey Monke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dois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odled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ell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li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ypeform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Voic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S Team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merg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dpres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underli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amm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ouTub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Zen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83" y="497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210658" y="423927"/>
            <a:ext cx="2326124" cy="2014307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, HTTP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hook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TP, SF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pose, Query, </a:t>
            </a:r>
            <a:b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rse JS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ai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rmina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kflow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98937" y="192528"/>
            <a:ext cx="2101535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tocols/Nativ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206556" y="2681192"/>
            <a:ext cx="2120554" cy="182871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Valid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nsform XML (+Mapper)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En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De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1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DIFAC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tegration Account Artifact Lookup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3636" y="2408851"/>
            <a:ext cx="2657503" cy="438828"/>
          </a:xfrm>
          <a:prstGeom prst="rect">
            <a:avLst/>
          </a:prstGeom>
        </p:spPr>
        <p:txBody>
          <a:bodyPr wrap="squar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and ED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191173" y="4451701"/>
            <a:ext cx="1066927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ybri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194833" y="4770929"/>
            <a:ext cx="1849868" cy="201496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>
            <a:defPPr>
              <a:defRPr lang="en-US"/>
            </a:defPPr>
            <a:lvl1pPr marL="173038" indent="-173038" defTabSz="932563">
              <a:spcAft>
                <a:spcPts val="150"/>
              </a:spcAft>
              <a:buFont typeface="Arial" panose="020B0604020202020204" pitchFamily="34" charset="0"/>
              <a:buChar char="•"/>
              <a:defRPr sz="1400">
                <a:gradFill>
                  <a:gsLst>
                    <a:gs pos="10145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zTalk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ile Syste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BM DB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ormi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racle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QL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sphere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Q</a:t>
            </a:r>
          </a:p>
          <a:p>
            <a:pPr marL="0" marR="0" lvl="0" indent="0" algn="l" defTabSz="950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20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24451" y="192528"/>
            <a:ext cx="859353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a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594488" y="879603"/>
            <a:ext cx="2112818" cy="3063397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594489" y="4129685"/>
            <a:ext cx="1992458" cy="16812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4594489" y="5546520"/>
            <a:ext cx="1992458" cy="1939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594489" y="6301125"/>
            <a:ext cx="1992458" cy="529111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707307" y="513232"/>
            <a:ext cx="1773685" cy="35190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699605" y="6099336"/>
            <a:ext cx="1895294" cy="746466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8721100" y="496051"/>
            <a:ext cx="1553268" cy="735194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721101" y="1964658"/>
            <a:ext cx="1553268" cy="34657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8721101" y="3029297"/>
            <a:ext cx="1542536" cy="185922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8745415" y="5392208"/>
            <a:ext cx="1493790" cy="16423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733694" y="5927791"/>
            <a:ext cx="1505512" cy="3381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0345355" y="4866081"/>
            <a:ext cx="1708281" cy="15949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0345355" y="5750434"/>
            <a:ext cx="1708281" cy="368308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699605" y="5388099"/>
            <a:ext cx="1895294" cy="514985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275484" y="295730"/>
            <a:ext cx="3809457" cy="917444"/>
          </a:xfrm>
        </p:spPr>
        <p:txBody>
          <a:bodyPr/>
          <a:lstStyle/>
          <a:p>
            <a: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  <a:t>Logic Apps</a:t>
            </a:r>
            <a:b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</a:br>
            <a:endParaRPr lang="en-NZ">
              <a:gradFill>
                <a:gsLst>
                  <a:gs pos="2917">
                    <a:schemeClr val="bg1"/>
                  </a:gs>
                  <a:gs pos="3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281972" y="1267723"/>
            <a:ext cx="4247400" cy="2546342"/>
          </a:xfrm>
          <a:prstGeom prst="rect">
            <a:avLst/>
          </a:prstGeom>
        </p:spPr>
        <p:txBody>
          <a:bodyPr lIns="182750" tIns="146200" rIns="182750"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392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APIs and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latform functionality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Over 165 built-in connector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Hosted and managed withi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the platform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cales to meet your needs 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class designer experience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262989" y="4073444"/>
            <a:ext cx="4254660" cy="817477"/>
          </a:xfrm>
          <a:prstGeom prst="rect">
            <a:avLst/>
          </a:prstGeom>
        </p:spPr>
        <p:txBody>
          <a:bodyPr vert="horz" wrap="square" lIns="182750" tIns="146200" rIns="182750" bIns="91363" rtlCol="0">
            <a:spAutoFit/>
          </a:bodyPr>
          <a:lstStyle>
            <a:lvl1pPr marL="287338" marR="0" indent="-287338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tabLst/>
              <a:defRPr lang="en-US" sz="3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1166" marR="0" indent="-233195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699585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880958" marR="0" indent="-181374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049377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I connection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uthenticate once and reuse</a:t>
            </a:r>
          </a:p>
        </p:txBody>
      </p:sp>
    </p:spTree>
    <p:extLst>
      <p:ext uri="{BB962C8B-B14F-4D97-AF65-F5344CB8AC3E}">
        <p14:creationId xmlns:p14="http://schemas.microsoft.com/office/powerpoint/2010/main" val="146595300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Coffee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638797" cy="206825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11</a:t>
            </a:r>
            <a:r>
              <a:rPr lang="en-US" sz="4800" dirty="0">
                <a:latin typeface="+mn-lt"/>
                <a:sym typeface="Wingdings" pitchFamily="2" charset="2"/>
              </a:rPr>
              <a:t>:00 AM</a:t>
            </a:r>
            <a:br>
              <a:rPr lang="en-US" sz="4800" dirty="0"/>
            </a:br>
            <a:r>
              <a:rPr lang="en-US" sz="4400" dirty="0"/>
              <a:t>with deploying the scenario components</a:t>
            </a:r>
            <a:endParaRPr lang="en-US" sz="4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9923E5-7049-F843-B657-5465FC78D2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58207" y="745185"/>
            <a:ext cx="8463376" cy="634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10239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384577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Preparing and deploy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623842745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2002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339650"/>
          </a:xfrm>
        </p:spPr>
        <p:txBody>
          <a:bodyPr/>
          <a:lstStyle/>
          <a:p>
            <a:pPr marL="571500" indent="-571500">
              <a:buFont typeface="Arial" charset="0"/>
              <a:buChar char="•"/>
            </a:pPr>
            <a:r>
              <a:rPr lang="en-US" dirty="0"/>
              <a:t>A customer submits spoken feedback on your website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Cognitive Speech APIs convert speech to text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Feedback is submitted to the system and store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Perform a sentiment analysis on the feedback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Retrieve the customer details via your backen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If feedback was negative, generate a discount coupon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Send the coupon via email</a:t>
            </a:r>
          </a:p>
        </p:txBody>
      </p:sp>
    </p:spTree>
    <p:extLst>
      <p:ext uri="{BB962C8B-B14F-4D97-AF65-F5344CB8AC3E}">
        <p14:creationId xmlns:p14="http://schemas.microsoft.com/office/powerpoint/2010/main" val="189369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. Pre-requisi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431983"/>
          </a:xfrm>
        </p:spPr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en-US" dirty="0"/>
              <a:t>Create Resource Group 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ea-app-workshop</a:t>
            </a:r>
            <a:r>
              <a:rPr lang="en-US" dirty="0">
                <a:ea typeface="Consolas" charset="0"/>
                <a:cs typeface="Consolas" charset="0"/>
              </a:rPr>
              <a:t>. You will deploy all resources into that group.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dirty="0" err="1"/>
              <a:t>Github</a:t>
            </a:r>
            <a:r>
              <a:rPr lang="en-US" dirty="0"/>
              <a:t> account.</a:t>
            </a:r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Fork the following </a:t>
            </a:r>
            <a:r>
              <a:rPr lang="en-US" dirty="0" err="1"/>
              <a:t>Github</a:t>
            </a:r>
            <a:r>
              <a:rPr lang="en-US" dirty="0"/>
              <a:t> repos to your account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endParaRPr lang="en-US" dirty="0"/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73034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837237" y="2354262"/>
            <a:ext cx="7620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580437" y="906462"/>
            <a:ext cx="8382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171869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reate API Management Gatewa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400657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pi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Developer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30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</p:txBody>
      </p:sp>
    </p:spTree>
    <p:extLst>
      <p:ext uri="{BB962C8B-B14F-4D97-AF65-F5344CB8AC3E}">
        <p14:creationId xmlns:p14="http://schemas.microsoft.com/office/powerpoint/2010/main" val="62946909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1" y="0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88191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Create </a:t>
            </a:r>
            <a:r>
              <a:rPr lang="en-US" dirty="0" err="1"/>
              <a:t>CosmosD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MongoDB API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5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When the provisioning is done, go back to get the MongoDB connection string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192859329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92502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151437" y="3040062"/>
            <a:ext cx="51054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68977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3. Create Bing Speech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786092058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09643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6274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02778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4. Create Text Analytics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tex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868970219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62698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405631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5. Create Azure Database for My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260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azureuser</a:t>
            </a:r>
            <a:r>
              <a:rPr lang="en-US" dirty="0"/>
              <a:t> as the admin login 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a password and write it down, as you’ll need it lat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witch to the Basic tier and create. 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erver name and full admin user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u="sng" dirty="0"/>
              <a:t>Disable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 Enforce SSL Connection </a:t>
            </a:r>
            <a:r>
              <a:rPr lang="en-US" dirty="0"/>
              <a:t>and create a firewall rule starting with </a:t>
            </a:r>
            <a:r>
              <a:rPr lang="en-US" dirty="0">
                <a:latin typeface="+mn-lt"/>
              </a:rPr>
              <a:t>0.0.0.0</a:t>
            </a:r>
            <a:r>
              <a:rPr lang="en-US" dirty="0"/>
              <a:t> to </a:t>
            </a:r>
            <a:r>
              <a:rPr lang="en-US" dirty="0">
                <a:latin typeface="+mn-lt"/>
              </a:rPr>
              <a:t>255.255.255.255</a:t>
            </a:r>
          </a:p>
        </p:txBody>
      </p:sp>
    </p:spTree>
    <p:extLst>
      <p:ext uri="{BB962C8B-B14F-4D97-AF65-F5344CB8AC3E}">
        <p14:creationId xmlns:p14="http://schemas.microsoft.com/office/powerpoint/2010/main" val="1160162500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60783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7742237" y="1439862"/>
            <a:ext cx="2667000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055004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3379" y="-7938"/>
            <a:ext cx="9309714" cy="664979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4999037" y="1897062"/>
            <a:ext cx="16764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3421" y="3164558"/>
            <a:ext cx="5395815" cy="71370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87913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6. Create Storage Accou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6166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ick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General Purpose </a:t>
            </a:r>
            <a:r>
              <a:rPr lang="en-US" dirty="0"/>
              <a:t>as the account kind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it in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torage account name and ke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ptionally, activate Azure CDN for the storage account with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cdn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 </a:t>
            </a:r>
            <a:r>
              <a:rPr lang="en-US" dirty="0"/>
              <a:t>as the CDN endpoint name and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tandard Akamai </a:t>
            </a:r>
            <a:r>
              <a:rPr lang="en-US" dirty="0"/>
              <a:t>as the tier.</a:t>
            </a:r>
          </a:p>
        </p:txBody>
      </p:sp>
    </p:spTree>
    <p:extLst>
      <p:ext uri="{BB962C8B-B14F-4D97-AF65-F5344CB8AC3E}">
        <p14:creationId xmlns:p14="http://schemas.microsoft.com/office/powerpoint/2010/main" val="310790993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223227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227637" y="1820862"/>
            <a:ext cx="5181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227637" y="2582862"/>
            <a:ext cx="2895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123237" y="2582862"/>
            <a:ext cx="1981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6249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1F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C0FD5-98B7-D24A-91B0-2BFFC27D6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94B54B-972B-4D47-B722-12C655C6E2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4638" y="3192462"/>
            <a:ext cx="11506199" cy="1957459"/>
          </a:xfrm>
        </p:spPr>
        <p:txBody>
          <a:bodyPr/>
          <a:lstStyle/>
          <a:p>
            <a:r>
              <a:rPr lang="en-US" sz="4000" dirty="0"/>
              <a:t>Customer Feedback System</a:t>
            </a:r>
          </a:p>
          <a:p>
            <a:r>
              <a:rPr lang="en-US" sz="4000" dirty="0">
                <a:solidFill>
                  <a:schemeClr val="tx1"/>
                </a:solidFill>
                <a:hlinkClick r:id="rId2"/>
              </a:rPr>
              <a:t>https://asabbourfeedbackweb.azurewebsites.net</a:t>
            </a:r>
            <a:endParaRPr lang="en-US" sz="4000" dirty="0">
              <a:solidFill>
                <a:schemeClr val="tx1"/>
              </a:solidFill>
            </a:endParaRPr>
          </a:p>
          <a:p>
            <a:r>
              <a:rPr lang="en-US" sz="4000" dirty="0">
                <a:solidFill>
                  <a:schemeClr val="tx1"/>
                </a:solidFill>
                <a:hlinkClick r:id="rId3"/>
              </a:rPr>
              <a:t>http://asabbourfeedbackapi.azurewebsites.net</a:t>
            </a:r>
            <a:r>
              <a:rPr lang="en-US" sz="4000" dirty="0">
                <a:solidFill>
                  <a:schemeClr val="tx1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0908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41590" y="4255292"/>
            <a:ext cx="2119647" cy="38496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241589" y="4640261"/>
            <a:ext cx="2119647" cy="533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32428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1 Create Web App for Feedback API running PHP on Linu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inux</a:t>
            </a:r>
            <a:r>
              <a:rPr lang="en-US" dirty="0"/>
              <a:t> as the O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HP 7.0 </a:t>
            </a:r>
            <a:r>
              <a:rPr lang="en-US" dirty="0"/>
              <a:t>as the Runtime Stack.</a:t>
            </a:r>
          </a:p>
        </p:txBody>
      </p:sp>
    </p:spTree>
    <p:extLst>
      <p:ext uri="{BB962C8B-B14F-4D97-AF65-F5344CB8AC3E}">
        <p14:creationId xmlns:p14="http://schemas.microsoft.com/office/powerpoint/2010/main" val="1291101790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98000" y="-1"/>
            <a:ext cx="9240473" cy="6994525"/>
            <a:chOff x="1598000" y="-1"/>
            <a:chExt cx="9240473" cy="6994525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000" y="-1"/>
              <a:ext cx="9240473" cy="69945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 bwMode="auto">
            <a:xfrm>
              <a:off x="1956390" y="449262"/>
              <a:ext cx="8527311" cy="152400"/>
            </a:xfrm>
            <a:prstGeom prst="rect">
              <a:avLst/>
            </a:prstGeom>
            <a:solidFill>
              <a:srgbClr val="1C1C1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 bwMode="auto">
          <a:xfrm>
            <a:off x="3475037" y="25828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475037" y="3344862"/>
            <a:ext cx="1828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69027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2 Configure Feedback AP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42917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SERVER</a:t>
            </a:r>
            <a:r>
              <a:rPr lang="en-US" dirty="0"/>
              <a:t>: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.mysql.database.azure.co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USER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zureus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@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PASSWORD: the password you specified earli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api.azurewebsites.net/init</a:t>
            </a:r>
            <a:r>
              <a:rPr lang="en-US" sz="3200" dirty="0"/>
              <a:t> </a:t>
            </a:r>
            <a:br>
              <a:rPr lang="en-US" sz="4000" dirty="0"/>
            </a:br>
            <a:r>
              <a:rPr lang="en-US" dirty="0"/>
              <a:t>you should see some customers already if things are configured properl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Add your name and email</a:t>
            </a:r>
          </a:p>
        </p:txBody>
      </p:sp>
    </p:spTree>
    <p:extLst>
      <p:ext uri="{BB962C8B-B14F-4D97-AF65-F5344CB8AC3E}">
        <p14:creationId xmlns:p14="http://schemas.microsoft.com/office/powerpoint/2010/main" val="503513267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66600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573462"/>
            <a:ext cx="5105400" cy="1295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27246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64318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1 Create Web App for new Feedback website running .NET on Wind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web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Windows </a:t>
            </a:r>
            <a:r>
              <a:rPr lang="en-US" dirty="0"/>
              <a:t>as the OS.</a:t>
            </a:r>
          </a:p>
        </p:txBody>
      </p:sp>
    </p:spTree>
    <p:extLst>
      <p:ext uri="{BB962C8B-B14F-4D97-AF65-F5344CB8AC3E}">
        <p14:creationId xmlns:p14="http://schemas.microsoft.com/office/powerpoint/2010/main" val="1232941461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425124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2 Configure the new .NET Feedback websi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7951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_URL</a:t>
            </a:r>
            <a:r>
              <a:rPr lang="en-US" dirty="0"/>
              <a:t>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ongodb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connection string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_KEY: speech API key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NAME: storage account name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KEY: storage account key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web.azurewebsites.net</a:t>
            </a:r>
            <a:r>
              <a:rPr lang="en-US" sz="3200" dirty="0"/>
              <a:t> </a:t>
            </a:r>
            <a:br>
              <a:rPr lang="en-US" sz="3200" dirty="0"/>
            </a:br>
            <a:r>
              <a:rPr lang="en-US" dirty="0"/>
              <a:t>you should see a form to collect feedback</a:t>
            </a:r>
          </a:p>
        </p:txBody>
      </p:sp>
    </p:spTree>
    <p:extLst>
      <p:ext uri="{BB962C8B-B14F-4D97-AF65-F5344CB8AC3E}">
        <p14:creationId xmlns:p14="http://schemas.microsoft.com/office/powerpoint/2010/main" val="1016342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p Service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078431" y="2226803"/>
            <a:ext cx="2547635" cy="2536025"/>
            <a:chOff x="827088" y="-3463925"/>
            <a:chExt cx="3833812" cy="38163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2863850" y="-1444625"/>
              <a:ext cx="1797050" cy="1797050"/>
            </a:xfrm>
            <a:custGeom>
              <a:avLst/>
              <a:gdLst>
                <a:gd name="T0" fmla="*/ 233 w 515"/>
                <a:gd name="T1" fmla="*/ 221 h 515"/>
                <a:gd name="T2" fmla="*/ 0 w 515"/>
                <a:gd name="T3" fmla="*/ 221 h 515"/>
                <a:gd name="T4" fmla="*/ 0 w 515"/>
                <a:gd name="T5" fmla="*/ 463 h 515"/>
                <a:gd name="T6" fmla="*/ 0 w 515"/>
                <a:gd name="T7" fmla="*/ 467 h 515"/>
                <a:gd name="T8" fmla="*/ 0 w 515"/>
                <a:gd name="T9" fmla="*/ 468 h 515"/>
                <a:gd name="T10" fmla="*/ 0 w 515"/>
                <a:gd name="T11" fmla="*/ 472 h 515"/>
                <a:gd name="T12" fmla="*/ 1 w 515"/>
                <a:gd name="T13" fmla="*/ 472 h 515"/>
                <a:gd name="T14" fmla="*/ 51 w 515"/>
                <a:gd name="T15" fmla="*/ 515 h 515"/>
                <a:gd name="T16" fmla="*/ 463 w 515"/>
                <a:gd name="T17" fmla="*/ 515 h 515"/>
                <a:gd name="T18" fmla="*/ 515 w 515"/>
                <a:gd name="T19" fmla="*/ 463 h 515"/>
                <a:gd name="T20" fmla="*/ 515 w 515"/>
                <a:gd name="T21" fmla="*/ 51 h 515"/>
                <a:gd name="T22" fmla="*/ 463 w 515"/>
                <a:gd name="T23" fmla="*/ 0 h 515"/>
                <a:gd name="T24" fmla="*/ 404 w 515"/>
                <a:gd name="T25" fmla="*/ 0 h 515"/>
                <a:gd name="T26" fmla="*/ 411 w 515"/>
                <a:gd name="T27" fmla="*/ 50 h 515"/>
                <a:gd name="T28" fmla="*/ 233 w 515"/>
                <a:gd name="T29" fmla="*/ 221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" h="515">
                  <a:moveTo>
                    <a:pt x="233" y="221"/>
                  </a:moveTo>
                  <a:cubicBezTo>
                    <a:pt x="196" y="221"/>
                    <a:pt x="101" y="221"/>
                    <a:pt x="0" y="22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9"/>
                    <a:pt x="0" y="471"/>
                    <a:pt x="0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1" y="515"/>
                  </a:cubicBezTo>
                  <a:cubicBezTo>
                    <a:pt x="463" y="515"/>
                    <a:pt x="463" y="515"/>
                    <a:pt x="463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409" y="15"/>
                    <a:pt x="411" y="32"/>
                    <a:pt x="411" y="50"/>
                  </a:cubicBezTo>
                  <a:cubicBezTo>
                    <a:pt x="411" y="148"/>
                    <a:pt x="332" y="221"/>
                    <a:pt x="233" y="221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27088" y="-1444625"/>
              <a:ext cx="1797050" cy="1797050"/>
            </a:xfrm>
            <a:custGeom>
              <a:avLst/>
              <a:gdLst>
                <a:gd name="T0" fmla="*/ 106 w 515"/>
                <a:gd name="T1" fmla="*/ 50 h 515"/>
                <a:gd name="T2" fmla="*/ 114 w 515"/>
                <a:gd name="T3" fmla="*/ 0 h 515"/>
                <a:gd name="T4" fmla="*/ 52 w 515"/>
                <a:gd name="T5" fmla="*/ 0 h 515"/>
                <a:gd name="T6" fmla="*/ 1 w 515"/>
                <a:gd name="T7" fmla="*/ 42 h 515"/>
                <a:gd name="T8" fmla="*/ 1 w 515"/>
                <a:gd name="T9" fmla="*/ 43 h 515"/>
                <a:gd name="T10" fmla="*/ 0 w 515"/>
                <a:gd name="T11" fmla="*/ 46 h 515"/>
                <a:gd name="T12" fmla="*/ 0 w 515"/>
                <a:gd name="T13" fmla="*/ 47 h 515"/>
                <a:gd name="T14" fmla="*/ 0 w 515"/>
                <a:gd name="T15" fmla="*/ 51 h 515"/>
                <a:gd name="T16" fmla="*/ 0 w 515"/>
                <a:gd name="T17" fmla="*/ 463 h 515"/>
                <a:gd name="T18" fmla="*/ 0 w 515"/>
                <a:gd name="T19" fmla="*/ 467 h 515"/>
                <a:gd name="T20" fmla="*/ 0 w 515"/>
                <a:gd name="T21" fmla="*/ 468 h 515"/>
                <a:gd name="T22" fmla="*/ 1 w 515"/>
                <a:gd name="T23" fmla="*/ 472 h 515"/>
                <a:gd name="T24" fmla="*/ 1 w 515"/>
                <a:gd name="T25" fmla="*/ 472 h 515"/>
                <a:gd name="T26" fmla="*/ 52 w 515"/>
                <a:gd name="T27" fmla="*/ 515 h 515"/>
                <a:gd name="T28" fmla="*/ 464 w 515"/>
                <a:gd name="T29" fmla="*/ 515 h 515"/>
                <a:gd name="T30" fmla="*/ 515 w 515"/>
                <a:gd name="T31" fmla="*/ 463 h 515"/>
                <a:gd name="T32" fmla="*/ 515 w 515"/>
                <a:gd name="T33" fmla="*/ 221 h 515"/>
                <a:gd name="T34" fmla="*/ 284 w 515"/>
                <a:gd name="T35" fmla="*/ 221 h 515"/>
                <a:gd name="T36" fmla="*/ 106 w 515"/>
                <a:gd name="T37" fmla="*/ 5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5" h="515">
                  <a:moveTo>
                    <a:pt x="106" y="50"/>
                  </a:moveTo>
                  <a:cubicBezTo>
                    <a:pt x="106" y="32"/>
                    <a:pt x="109" y="15"/>
                    <a:pt x="11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1" y="469"/>
                    <a:pt x="1" y="471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2" y="515"/>
                  </a:cubicBezTo>
                  <a:cubicBezTo>
                    <a:pt x="464" y="515"/>
                    <a:pt x="464" y="515"/>
                    <a:pt x="464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221"/>
                    <a:pt x="515" y="221"/>
                    <a:pt x="515" y="221"/>
                  </a:cubicBezTo>
                  <a:cubicBezTo>
                    <a:pt x="419" y="221"/>
                    <a:pt x="327" y="221"/>
                    <a:pt x="284" y="221"/>
                  </a:cubicBezTo>
                  <a:cubicBezTo>
                    <a:pt x="186" y="221"/>
                    <a:pt x="106" y="148"/>
                    <a:pt x="106" y="50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863850" y="-3463925"/>
              <a:ext cx="1797050" cy="1793875"/>
            </a:xfrm>
            <a:custGeom>
              <a:avLst/>
              <a:gdLst>
                <a:gd name="T0" fmla="*/ 515 w 515"/>
                <a:gd name="T1" fmla="*/ 463 h 514"/>
                <a:gd name="T2" fmla="*/ 515 w 515"/>
                <a:gd name="T3" fmla="*/ 51 h 514"/>
                <a:gd name="T4" fmla="*/ 463 w 515"/>
                <a:gd name="T5" fmla="*/ 0 h 514"/>
                <a:gd name="T6" fmla="*/ 51 w 515"/>
                <a:gd name="T7" fmla="*/ 0 h 514"/>
                <a:gd name="T8" fmla="*/ 1 w 515"/>
                <a:gd name="T9" fmla="*/ 42 h 514"/>
                <a:gd name="T10" fmla="*/ 0 w 515"/>
                <a:gd name="T11" fmla="*/ 42 h 514"/>
                <a:gd name="T12" fmla="*/ 0 w 515"/>
                <a:gd name="T13" fmla="*/ 46 h 514"/>
                <a:gd name="T14" fmla="*/ 0 w 515"/>
                <a:gd name="T15" fmla="*/ 47 h 514"/>
                <a:gd name="T16" fmla="*/ 0 w 515"/>
                <a:gd name="T17" fmla="*/ 51 h 514"/>
                <a:gd name="T18" fmla="*/ 0 w 515"/>
                <a:gd name="T19" fmla="*/ 238 h 514"/>
                <a:gd name="T20" fmla="*/ 56 w 515"/>
                <a:gd name="T21" fmla="*/ 231 h 514"/>
                <a:gd name="T22" fmla="*/ 283 w 515"/>
                <a:gd name="T23" fmla="*/ 458 h 514"/>
                <a:gd name="T24" fmla="*/ 282 w 515"/>
                <a:gd name="T25" fmla="*/ 465 h 514"/>
                <a:gd name="T26" fmla="*/ 365 w 515"/>
                <a:gd name="T27" fmla="*/ 514 h 514"/>
                <a:gd name="T28" fmla="*/ 463 w 515"/>
                <a:gd name="T29" fmla="*/ 514 h 514"/>
                <a:gd name="T30" fmla="*/ 515 w 515"/>
                <a:gd name="T31" fmla="*/ 463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5" h="514">
                  <a:moveTo>
                    <a:pt x="515" y="463"/>
                  </a:move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0" y="42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8" y="233"/>
                    <a:pt x="36" y="231"/>
                    <a:pt x="56" y="231"/>
                  </a:cubicBezTo>
                  <a:cubicBezTo>
                    <a:pt x="181" y="231"/>
                    <a:pt x="283" y="332"/>
                    <a:pt x="283" y="458"/>
                  </a:cubicBezTo>
                  <a:cubicBezTo>
                    <a:pt x="283" y="460"/>
                    <a:pt x="282" y="463"/>
                    <a:pt x="282" y="465"/>
                  </a:cubicBezTo>
                  <a:cubicBezTo>
                    <a:pt x="314" y="475"/>
                    <a:pt x="343" y="492"/>
                    <a:pt x="365" y="514"/>
                  </a:cubicBezTo>
                  <a:cubicBezTo>
                    <a:pt x="463" y="514"/>
                    <a:pt x="463" y="514"/>
                    <a:pt x="463" y="514"/>
                  </a:cubicBezTo>
                  <a:cubicBezTo>
                    <a:pt x="492" y="514"/>
                    <a:pt x="515" y="491"/>
                    <a:pt x="515" y="463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827088" y="-3463925"/>
              <a:ext cx="1797050" cy="1793875"/>
            </a:xfrm>
            <a:custGeom>
              <a:avLst/>
              <a:gdLst>
                <a:gd name="T0" fmla="*/ 247 w 515"/>
                <a:gd name="T1" fmla="*/ 462 h 514"/>
                <a:gd name="T2" fmla="*/ 245 w 515"/>
                <a:gd name="T3" fmla="*/ 438 h 514"/>
                <a:gd name="T4" fmla="*/ 383 w 515"/>
                <a:gd name="T5" fmla="*/ 300 h 514"/>
                <a:gd name="T6" fmla="*/ 458 w 515"/>
                <a:gd name="T7" fmla="*/ 322 h 514"/>
                <a:gd name="T8" fmla="*/ 515 w 515"/>
                <a:gd name="T9" fmla="*/ 268 h 514"/>
                <a:gd name="T10" fmla="*/ 515 w 515"/>
                <a:gd name="T11" fmla="*/ 51 h 514"/>
                <a:gd name="T12" fmla="*/ 464 w 515"/>
                <a:gd name="T13" fmla="*/ 0 h 514"/>
                <a:gd name="T14" fmla="*/ 52 w 515"/>
                <a:gd name="T15" fmla="*/ 0 h 514"/>
                <a:gd name="T16" fmla="*/ 1 w 515"/>
                <a:gd name="T17" fmla="*/ 42 h 514"/>
                <a:gd name="T18" fmla="*/ 1 w 515"/>
                <a:gd name="T19" fmla="*/ 42 h 514"/>
                <a:gd name="T20" fmla="*/ 0 w 515"/>
                <a:gd name="T21" fmla="*/ 46 h 514"/>
                <a:gd name="T22" fmla="*/ 0 w 515"/>
                <a:gd name="T23" fmla="*/ 47 h 514"/>
                <a:gd name="T24" fmla="*/ 0 w 515"/>
                <a:gd name="T25" fmla="*/ 51 h 514"/>
                <a:gd name="T26" fmla="*/ 0 w 515"/>
                <a:gd name="T27" fmla="*/ 463 h 514"/>
                <a:gd name="T28" fmla="*/ 0 w 515"/>
                <a:gd name="T29" fmla="*/ 467 h 514"/>
                <a:gd name="T30" fmla="*/ 0 w 515"/>
                <a:gd name="T31" fmla="*/ 468 h 514"/>
                <a:gd name="T32" fmla="*/ 1 w 515"/>
                <a:gd name="T33" fmla="*/ 472 h 514"/>
                <a:gd name="T34" fmla="*/ 1 w 515"/>
                <a:gd name="T35" fmla="*/ 472 h 514"/>
                <a:gd name="T36" fmla="*/ 52 w 515"/>
                <a:gd name="T37" fmla="*/ 514 h 514"/>
                <a:gd name="T38" fmla="*/ 151 w 515"/>
                <a:gd name="T39" fmla="*/ 514 h 514"/>
                <a:gd name="T40" fmla="*/ 247 w 515"/>
                <a:gd name="T41" fmla="*/ 462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5" h="514">
                  <a:moveTo>
                    <a:pt x="247" y="462"/>
                  </a:moveTo>
                  <a:cubicBezTo>
                    <a:pt x="246" y="454"/>
                    <a:pt x="245" y="446"/>
                    <a:pt x="245" y="438"/>
                  </a:cubicBezTo>
                  <a:cubicBezTo>
                    <a:pt x="245" y="362"/>
                    <a:pt x="306" y="300"/>
                    <a:pt x="383" y="300"/>
                  </a:cubicBezTo>
                  <a:cubicBezTo>
                    <a:pt x="411" y="300"/>
                    <a:pt x="436" y="308"/>
                    <a:pt x="458" y="322"/>
                  </a:cubicBezTo>
                  <a:cubicBezTo>
                    <a:pt x="474" y="301"/>
                    <a:pt x="493" y="283"/>
                    <a:pt x="515" y="268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4"/>
                    <a:pt x="0" y="466"/>
                    <a:pt x="0" y="467"/>
                  </a:cubicBezTo>
                  <a:cubicBezTo>
                    <a:pt x="0" y="467"/>
                    <a:pt x="0" y="468"/>
                    <a:pt x="0" y="468"/>
                  </a:cubicBezTo>
                  <a:cubicBezTo>
                    <a:pt x="1" y="469"/>
                    <a:pt x="1" y="470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4"/>
                    <a:pt x="52" y="514"/>
                  </a:cubicBezTo>
                  <a:cubicBezTo>
                    <a:pt x="151" y="514"/>
                    <a:pt x="151" y="514"/>
                    <a:pt x="151" y="514"/>
                  </a:cubicBezTo>
                  <a:cubicBezTo>
                    <a:pt x="176" y="488"/>
                    <a:pt x="209" y="470"/>
                    <a:pt x="247" y="462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863850" y="-1444625"/>
              <a:ext cx="1433512" cy="771525"/>
            </a:xfrm>
            <a:custGeom>
              <a:avLst/>
              <a:gdLst>
                <a:gd name="T0" fmla="*/ 1 w 411"/>
                <a:gd name="T1" fmla="*/ 42 h 221"/>
                <a:gd name="T2" fmla="*/ 0 w 411"/>
                <a:gd name="T3" fmla="*/ 43 h 221"/>
                <a:gd name="T4" fmla="*/ 0 w 411"/>
                <a:gd name="T5" fmla="*/ 46 h 221"/>
                <a:gd name="T6" fmla="*/ 0 w 411"/>
                <a:gd name="T7" fmla="*/ 47 h 221"/>
                <a:gd name="T8" fmla="*/ 0 w 411"/>
                <a:gd name="T9" fmla="*/ 51 h 221"/>
                <a:gd name="T10" fmla="*/ 0 w 411"/>
                <a:gd name="T11" fmla="*/ 221 h 221"/>
                <a:gd name="T12" fmla="*/ 233 w 411"/>
                <a:gd name="T13" fmla="*/ 221 h 221"/>
                <a:gd name="T14" fmla="*/ 411 w 411"/>
                <a:gd name="T15" fmla="*/ 50 h 221"/>
                <a:gd name="T16" fmla="*/ 404 w 411"/>
                <a:gd name="T17" fmla="*/ 0 h 221"/>
                <a:gd name="T18" fmla="*/ 51 w 411"/>
                <a:gd name="T19" fmla="*/ 0 h 221"/>
                <a:gd name="T20" fmla="*/ 1 w 411"/>
                <a:gd name="T21" fmla="*/ 4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1" h="221">
                  <a:moveTo>
                    <a:pt x="1" y="42"/>
                  </a:moveTo>
                  <a:cubicBezTo>
                    <a:pt x="1" y="42"/>
                    <a:pt x="1" y="42"/>
                    <a:pt x="0" y="43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101" y="221"/>
                    <a:pt x="196" y="221"/>
                    <a:pt x="233" y="221"/>
                  </a:cubicBezTo>
                  <a:cubicBezTo>
                    <a:pt x="332" y="221"/>
                    <a:pt x="411" y="148"/>
                    <a:pt x="411" y="50"/>
                  </a:cubicBezTo>
                  <a:cubicBezTo>
                    <a:pt x="411" y="32"/>
                    <a:pt x="409" y="15"/>
                    <a:pt x="40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1196975" y="-1444625"/>
              <a:ext cx="1427162" cy="771525"/>
            </a:xfrm>
            <a:custGeom>
              <a:avLst/>
              <a:gdLst>
                <a:gd name="T0" fmla="*/ 358 w 409"/>
                <a:gd name="T1" fmla="*/ 0 h 221"/>
                <a:gd name="T2" fmla="*/ 8 w 409"/>
                <a:gd name="T3" fmla="*/ 0 h 221"/>
                <a:gd name="T4" fmla="*/ 0 w 409"/>
                <a:gd name="T5" fmla="*/ 50 h 221"/>
                <a:gd name="T6" fmla="*/ 178 w 409"/>
                <a:gd name="T7" fmla="*/ 221 h 221"/>
                <a:gd name="T8" fmla="*/ 409 w 409"/>
                <a:gd name="T9" fmla="*/ 221 h 221"/>
                <a:gd name="T10" fmla="*/ 409 w 409"/>
                <a:gd name="T11" fmla="*/ 51 h 221"/>
                <a:gd name="T12" fmla="*/ 358 w 409"/>
                <a:gd name="T1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21">
                  <a:moveTo>
                    <a:pt x="3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15"/>
                    <a:pt x="0" y="32"/>
                    <a:pt x="0" y="50"/>
                  </a:cubicBezTo>
                  <a:cubicBezTo>
                    <a:pt x="0" y="148"/>
                    <a:pt x="80" y="221"/>
                    <a:pt x="178" y="221"/>
                  </a:cubicBezTo>
                  <a:cubicBezTo>
                    <a:pt x="221" y="221"/>
                    <a:pt x="313" y="221"/>
                    <a:pt x="409" y="221"/>
                  </a:cubicBezTo>
                  <a:cubicBezTo>
                    <a:pt x="409" y="51"/>
                    <a:pt x="409" y="51"/>
                    <a:pt x="409" y="51"/>
                  </a:cubicBezTo>
                  <a:cubicBezTo>
                    <a:pt x="409" y="23"/>
                    <a:pt x="386" y="0"/>
                    <a:pt x="3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2863850" y="-2657475"/>
              <a:ext cx="1273175" cy="987425"/>
            </a:xfrm>
            <a:custGeom>
              <a:avLst/>
              <a:gdLst>
                <a:gd name="T0" fmla="*/ 283 w 365"/>
                <a:gd name="T1" fmla="*/ 227 h 283"/>
                <a:gd name="T2" fmla="*/ 56 w 365"/>
                <a:gd name="T3" fmla="*/ 0 h 283"/>
                <a:gd name="T4" fmla="*/ 0 w 365"/>
                <a:gd name="T5" fmla="*/ 7 h 283"/>
                <a:gd name="T6" fmla="*/ 0 w 365"/>
                <a:gd name="T7" fmla="*/ 232 h 283"/>
                <a:gd name="T8" fmla="*/ 0 w 365"/>
                <a:gd name="T9" fmla="*/ 236 h 283"/>
                <a:gd name="T10" fmla="*/ 0 w 365"/>
                <a:gd name="T11" fmla="*/ 237 h 283"/>
                <a:gd name="T12" fmla="*/ 0 w 365"/>
                <a:gd name="T13" fmla="*/ 241 h 283"/>
                <a:gd name="T14" fmla="*/ 1 w 365"/>
                <a:gd name="T15" fmla="*/ 241 h 283"/>
                <a:gd name="T16" fmla="*/ 51 w 365"/>
                <a:gd name="T17" fmla="*/ 283 h 283"/>
                <a:gd name="T18" fmla="*/ 365 w 365"/>
                <a:gd name="T19" fmla="*/ 283 h 283"/>
                <a:gd name="T20" fmla="*/ 282 w 365"/>
                <a:gd name="T21" fmla="*/ 234 h 283"/>
                <a:gd name="T22" fmla="*/ 283 w 365"/>
                <a:gd name="T23" fmla="*/ 22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5" h="283">
                  <a:moveTo>
                    <a:pt x="283" y="227"/>
                  </a:moveTo>
                  <a:cubicBezTo>
                    <a:pt x="283" y="101"/>
                    <a:pt x="181" y="0"/>
                    <a:pt x="56" y="0"/>
                  </a:cubicBezTo>
                  <a:cubicBezTo>
                    <a:pt x="36" y="0"/>
                    <a:pt x="18" y="2"/>
                    <a:pt x="0" y="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3"/>
                    <a:pt x="0" y="235"/>
                    <a:pt x="0" y="236"/>
                  </a:cubicBezTo>
                  <a:cubicBezTo>
                    <a:pt x="0" y="236"/>
                    <a:pt x="0" y="237"/>
                    <a:pt x="0" y="237"/>
                  </a:cubicBezTo>
                  <a:cubicBezTo>
                    <a:pt x="0" y="238"/>
                    <a:pt x="0" y="239"/>
                    <a:pt x="0" y="241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5" y="265"/>
                    <a:pt x="26" y="283"/>
                    <a:pt x="51" y="283"/>
                  </a:cubicBezTo>
                  <a:cubicBezTo>
                    <a:pt x="365" y="283"/>
                    <a:pt x="365" y="283"/>
                    <a:pt x="365" y="283"/>
                  </a:cubicBezTo>
                  <a:cubicBezTo>
                    <a:pt x="343" y="261"/>
                    <a:pt x="314" y="244"/>
                    <a:pt x="282" y="234"/>
                  </a:cubicBezTo>
                  <a:cubicBezTo>
                    <a:pt x="282" y="232"/>
                    <a:pt x="283" y="229"/>
                    <a:pt x="283" y="2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1354138" y="-2528888"/>
              <a:ext cx="1270000" cy="858838"/>
            </a:xfrm>
            <a:custGeom>
              <a:avLst/>
              <a:gdLst>
                <a:gd name="T0" fmla="*/ 364 w 364"/>
                <a:gd name="T1" fmla="*/ 195 h 246"/>
                <a:gd name="T2" fmla="*/ 364 w 364"/>
                <a:gd name="T3" fmla="*/ 0 h 246"/>
                <a:gd name="T4" fmla="*/ 307 w 364"/>
                <a:gd name="T5" fmla="*/ 54 h 246"/>
                <a:gd name="T6" fmla="*/ 232 w 364"/>
                <a:gd name="T7" fmla="*/ 32 h 246"/>
                <a:gd name="T8" fmla="*/ 94 w 364"/>
                <a:gd name="T9" fmla="*/ 170 h 246"/>
                <a:gd name="T10" fmla="*/ 96 w 364"/>
                <a:gd name="T11" fmla="*/ 194 h 246"/>
                <a:gd name="T12" fmla="*/ 0 w 364"/>
                <a:gd name="T13" fmla="*/ 246 h 246"/>
                <a:gd name="T14" fmla="*/ 313 w 364"/>
                <a:gd name="T15" fmla="*/ 246 h 246"/>
                <a:gd name="T16" fmla="*/ 364 w 364"/>
                <a:gd name="T17" fmla="*/ 19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4" h="246">
                  <a:moveTo>
                    <a:pt x="364" y="195"/>
                  </a:moveTo>
                  <a:cubicBezTo>
                    <a:pt x="364" y="0"/>
                    <a:pt x="364" y="0"/>
                    <a:pt x="364" y="0"/>
                  </a:cubicBezTo>
                  <a:cubicBezTo>
                    <a:pt x="342" y="15"/>
                    <a:pt x="323" y="33"/>
                    <a:pt x="307" y="54"/>
                  </a:cubicBezTo>
                  <a:cubicBezTo>
                    <a:pt x="285" y="40"/>
                    <a:pt x="260" y="32"/>
                    <a:pt x="232" y="32"/>
                  </a:cubicBezTo>
                  <a:cubicBezTo>
                    <a:pt x="155" y="32"/>
                    <a:pt x="94" y="94"/>
                    <a:pt x="94" y="170"/>
                  </a:cubicBezTo>
                  <a:cubicBezTo>
                    <a:pt x="94" y="178"/>
                    <a:pt x="95" y="186"/>
                    <a:pt x="96" y="194"/>
                  </a:cubicBezTo>
                  <a:cubicBezTo>
                    <a:pt x="58" y="202"/>
                    <a:pt x="25" y="220"/>
                    <a:pt x="0" y="246"/>
                  </a:cubicBezTo>
                  <a:cubicBezTo>
                    <a:pt x="313" y="246"/>
                    <a:pt x="313" y="246"/>
                    <a:pt x="313" y="246"/>
                  </a:cubicBezTo>
                  <a:cubicBezTo>
                    <a:pt x="341" y="246"/>
                    <a:pt x="364" y="223"/>
                    <a:pt x="364" y="1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1596947"/>
      </p:ext>
    </p:extLst>
  </p:cSld>
  <p:clrMapOvr>
    <a:masterClrMapping/>
  </p:clrMapOvr>
  <p:transition>
    <p:fade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77956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954462"/>
            <a:ext cx="5105400" cy="1905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71764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680981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1" y="-1"/>
            <a:ext cx="10365291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246437" y="3040062"/>
            <a:ext cx="17526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904037" y="2354262"/>
            <a:ext cx="4191000" cy="1143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652260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4" y="0"/>
            <a:ext cx="10365292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608637" y="1668462"/>
            <a:ext cx="5257800" cy="685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955409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1 Create Function App to generate coup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Consumption Plan </a:t>
            </a:r>
            <a:r>
              <a:rPr lang="en-US" dirty="0"/>
              <a:t>as the hosting pla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storage account.</a:t>
            </a:r>
          </a:p>
        </p:txBody>
      </p:sp>
    </p:spTree>
    <p:extLst>
      <p:ext uri="{BB962C8B-B14F-4D97-AF65-F5344CB8AC3E}">
        <p14:creationId xmlns:p14="http://schemas.microsoft.com/office/powerpoint/2010/main" val="688087460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905000" cy="1371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7988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2 Configure the Function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293490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BlobStorageConnection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: blob storage connection string in the form of 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DefaultEndpointsProtocol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https;AccountName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name];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AccountKey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key]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41654404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218236" y="830262"/>
            <a:ext cx="1447801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151438" y="2963861"/>
            <a:ext cx="990600" cy="4572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822816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70564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7029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A361355D-B3E8-463A-9948-464AA71C8FD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zure App Service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AD integrated 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317319" y="4788766"/>
            <a:ext cx="1804480" cy="1005671"/>
            <a:chOff x="2316767" y="4661692"/>
            <a:chExt cx="1804736" cy="1005813"/>
          </a:xfrm>
        </p:grpSpPr>
        <p:sp>
          <p:nvSpPr>
            <p:cNvPr id="74" name="Freeform 144"/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316767" y="5379331"/>
              <a:ext cx="1804736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456800" y="4782619"/>
            <a:ext cx="1554339" cy="1209446"/>
            <a:chOff x="4456552" y="4655544"/>
            <a:chExt cx="1554559" cy="1209618"/>
          </a:xfrm>
        </p:grpSpPr>
        <p:sp>
          <p:nvSpPr>
            <p:cNvPr id="78" name="Freeform 290"/>
            <p:cNvSpPr>
              <a:spLocks noChangeAspect="1" noEditPoints="1"/>
            </p:cNvSpPr>
            <p:nvPr/>
          </p:nvSpPr>
          <p:spPr bwMode="auto">
            <a:xfrm>
              <a:off x="4919759" y="4655544"/>
              <a:ext cx="628146" cy="609990"/>
            </a:xfrm>
            <a:custGeom>
              <a:avLst/>
              <a:gdLst>
                <a:gd name="T0" fmla="*/ 71 w 146"/>
                <a:gd name="T1" fmla="*/ 39 h 142"/>
                <a:gd name="T2" fmla="*/ 71 w 146"/>
                <a:gd name="T3" fmla="*/ 47 h 142"/>
                <a:gd name="T4" fmla="*/ 67 w 146"/>
                <a:gd name="T5" fmla="*/ 47 h 142"/>
                <a:gd name="T6" fmla="*/ 53 w 146"/>
                <a:gd name="T7" fmla="*/ 61 h 142"/>
                <a:gd name="T8" fmla="*/ 67 w 146"/>
                <a:gd name="T9" fmla="*/ 75 h 142"/>
                <a:gd name="T10" fmla="*/ 71 w 146"/>
                <a:gd name="T11" fmla="*/ 75 h 142"/>
                <a:gd name="T12" fmla="*/ 71 w 146"/>
                <a:gd name="T13" fmla="*/ 88 h 142"/>
                <a:gd name="T14" fmla="*/ 57 w 146"/>
                <a:gd name="T15" fmla="*/ 88 h 142"/>
                <a:gd name="T16" fmla="*/ 57 w 146"/>
                <a:gd name="T17" fmla="*/ 96 h 142"/>
                <a:gd name="T18" fmla="*/ 71 w 146"/>
                <a:gd name="T19" fmla="*/ 96 h 142"/>
                <a:gd name="T20" fmla="*/ 71 w 146"/>
                <a:gd name="T21" fmla="*/ 104 h 142"/>
                <a:gd name="T22" fmla="*/ 79 w 146"/>
                <a:gd name="T23" fmla="*/ 104 h 142"/>
                <a:gd name="T24" fmla="*/ 79 w 146"/>
                <a:gd name="T25" fmla="*/ 96 h 142"/>
                <a:gd name="T26" fmla="*/ 83 w 146"/>
                <a:gd name="T27" fmla="*/ 96 h 142"/>
                <a:gd name="T28" fmla="*/ 97 w 146"/>
                <a:gd name="T29" fmla="*/ 82 h 142"/>
                <a:gd name="T30" fmla="*/ 83 w 146"/>
                <a:gd name="T31" fmla="*/ 67 h 142"/>
                <a:gd name="T32" fmla="*/ 79 w 146"/>
                <a:gd name="T33" fmla="*/ 67 h 142"/>
                <a:gd name="T34" fmla="*/ 79 w 146"/>
                <a:gd name="T35" fmla="*/ 55 h 142"/>
                <a:gd name="T36" fmla="*/ 93 w 146"/>
                <a:gd name="T37" fmla="*/ 55 h 142"/>
                <a:gd name="T38" fmla="*/ 93 w 146"/>
                <a:gd name="T39" fmla="*/ 47 h 142"/>
                <a:gd name="T40" fmla="*/ 79 w 146"/>
                <a:gd name="T41" fmla="*/ 47 h 142"/>
                <a:gd name="T42" fmla="*/ 79 w 146"/>
                <a:gd name="T43" fmla="*/ 39 h 142"/>
                <a:gd name="T44" fmla="*/ 71 w 146"/>
                <a:gd name="T45" fmla="*/ 39 h 142"/>
                <a:gd name="T46" fmla="*/ 71 w 146"/>
                <a:gd name="T47" fmla="*/ 67 h 142"/>
                <a:gd name="T48" fmla="*/ 67 w 146"/>
                <a:gd name="T49" fmla="*/ 67 h 142"/>
                <a:gd name="T50" fmla="*/ 61 w 146"/>
                <a:gd name="T51" fmla="*/ 61 h 142"/>
                <a:gd name="T52" fmla="*/ 67 w 146"/>
                <a:gd name="T53" fmla="*/ 55 h 142"/>
                <a:gd name="T54" fmla="*/ 71 w 146"/>
                <a:gd name="T55" fmla="*/ 55 h 142"/>
                <a:gd name="T56" fmla="*/ 71 w 146"/>
                <a:gd name="T57" fmla="*/ 67 h 142"/>
                <a:gd name="T58" fmla="*/ 83 w 146"/>
                <a:gd name="T59" fmla="*/ 75 h 142"/>
                <a:gd name="T60" fmla="*/ 89 w 146"/>
                <a:gd name="T61" fmla="*/ 82 h 142"/>
                <a:gd name="T62" fmla="*/ 83 w 146"/>
                <a:gd name="T63" fmla="*/ 88 h 142"/>
                <a:gd name="T64" fmla="*/ 79 w 146"/>
                <a:gd name="T65" fmla="*/ 88 h 142"/>
                <a:gd name="T66" fmla="*/ 79 w 146"/>
                <a:gd name="T67" fmla="*/ 75 h 142"/>
                <a:gd name="T68" fmla="*/ 83 w 146"/>
                <a:gd name="T69" fmla="*/ 75 h 142"/>
                <a:gd name="T70" fmla="*/ 2 w 146"/>
                <a:gd name="T71" fmla="*/ 99 h 142"/>
                <a:gd name="T72" fmla="*/ 11 w 146"/>
                <a:gd name="T73" fmla="*/ 102 h 142"/>
                <a:gd name="T74" fmla="*/ 4 w 146"/>
                <a:gd name="T75" fmla="*/ 71 h 142"/>
                <a:gd name="T76" fmla="*/ 75 w 146"/>
                <a:gd name="T77" fmla="*/ 0 h 142"/>
                <a:gd name="T78" fmla="*/ 146 w 146"/>
                <a:gd name="T79" fmla="*/ 71 h 142"/>
                <a:gd name="T80" fmla="*/ 75 w 146"/>
                <a:gd name="T81" fmla="*/ 142 h 142"/>
                <a:gd name="T82" fmla="*/ 34 w 146"/>
                <a:gd name="T83" fmla="*/ 130 h 142"/>
                <a:gd name="T84" fmla="*/ 39 w 146"/>
                <a:gd name="T85" fmla="*/ 123 h 142"/>
                <a:gd name="T86" fmla="*/ 75 w 146"/>
                <a:gd name="T87" fmla="*/ 134 h 142"/>
                <a:gd name="T88" fmla="*/ 138 w 146"/>
                <a:gd name="T89" fmla="*/ 71 h 142"/>
                <a:gd name="T90" fmla="*/ 75 w 146"/>
                <a:gd name="T91" fmla="*/ 8 h 142"/>
                <a:gd name="T92" fmla="*/ 12 w 146"/>
                <a:gd name="T93" fmla="*/ 71 h 142"/>
                <a:gd name="T94" fmla="*/ 18 w 146"/>
                <a:gd name="T95" fmla="*/ 98 h 142"/>
                <a:gd name="T96" fmla="*/ 21 w 146"/>
                <a:gd name="T97" fmla="*/ 90 h 142"/>
                <a:gd name="T98" fmla="*/ 28 w 146"/>
                <a:gd name="T99" fmla="*/ 92 h 142"/>
                <a:gd name="T100" fmla="*/ 21 w 146"/>
                <a:gd name="T101" fmla="*/ 114 h 142"/>
                <a:gd name="T102" fmla="*/ 0 w 146"/>
                <a:gd name="T103" fmla="*/ 107 h 142"/>
                <a:gd name="T104" fmla="*/ 2 w 146"/>
                <a:gd name="T105" fmla="*/ 9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142">
                  <a:moveTo>
                    <a:pt x="71" y="39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0" y="47"/>
                    <a:pt x="53" y="53"/>
                    <a:pt x="53" y="61"/>
                  </a:cubicBezTo>
                  <a:cubicBezTo>
                    <a:pt x="53" y="69"/>
                    <a:pt x="60" y="75"/>
                    <a:pt x="67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90" y="96"/>
                    <a:pt x="97" y="90"/>
                    <a:pt x="97" y="82"/>
                  </a:cubicBezTo>
                  <a:cubicBezTo>
                    <a:pt x="97" y="74"/>
                    <a:pt x="90" y="67"/>
                    <a:pt x="83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39"/>
                    <a:pt x="79" y="39"/>
                    <a:pt x="79" y="39"/>
                  </a:cubicBezTo>
                  <a:lnTo>
                    <a:pt x="71" y="39"/>
                  </a:lnTo>
                  <a:close/>
                  <a:moveTo>
                    <a:pt x="71" y="67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64" y="67"/>
                    <a:pt x="61" y="65"/>
                    <a:pt x="61" y="61"/>
                  </a:cubicBezTo>
                  <a:cubicBezTo>
                    <a:pt x="61" y="58"/>
                    <a:pt x="64" y="55"/>
                    <a:pt x="67" y="55"/>
                  </a:cubicBezTo>
                  <a:cubicBezTo>
                    <a:pt x="71" y="55"/>
                    <a:pt x="71" y="55"/>
                    <a:pt x="71" y="55"/>
                  </a:cubicBezTo>
                  <a:lnTo>
                    <a:pt x="71" y="67"/>
                  </a:lnTo>
                  <a:close/>
                  <a:moveTo>
                    <a:pt x="83" y="75"/>
                  </a:moveTo>
                  <a:cubicBezTo>
                    <a:pt x="86" y="75"/>
                    <a:pt x="89" y="78"/>
                    <a:pt x="89" y="82"/>
                  </a:cubicBezTo>
                  <a:cubicBezTo>
                    <a:pt x="89" y="85"/>
                    <a:pt x="86" y="88"/>
                    <a:pt x="83" y="88"/>
                  </a:cubicBezTo>
                  <a:cubicBezTo>
                    <a:pt x="79" y="88"/>
                    <a:pt x="79" y="88"/>
                    <a:pt x="79" y="88"/>
                  </a:cubicBezTo>
                  <a:cubicBezTo>
                    <a:pt x="79" y="75"/>
                    <a:pt x="79" y="75"/>
                    <a:pt x="79" y="75"/>
                  </a:cubicBezTo>
                  <a:lnTo>
                    <a:pt x="83" y="75"/>
                  </a:lnTo>
                  <a:close/>
                  <a:moveTo>
                    <a:pt x="2" y="99"/>
                  </a:moveTo>
                  <a:cubicBezTo>
                    <a:pt x="11" y="102"/>
                    <a:pt x="11" y="102"/>
                    <a:pt x="11" y="102"/>
                  </a:cubicBezTo>
                  <a:cubicBezTo>
                    <a:pt x="6" y="92"/>
                    <a:pt x="4" y="82"/>
                    <a:pt x="4" y="71"/>
                  </a:cubicBezTo>
                  <a:cubicBezTo>
                    <a:pt x="4" y="32"/>
                    <a:pt x="36" y="0"/>
                    <a:pt x="75" y="0"/>
                  </a:cubicBezTo>
                  <a:cubicBezTo>
                    <a:pt x="114" y="0"/>
                    <a:pt x="146" y="32"/>
                    <a:pt x="146" y="71"/>
                  </a:cubicBezTo>
                  <a:cubicBezTo>
                    <a:pt x="146" y="110"/>
                    <a:pt x="114" y="142"/>
                    <a:pt x="75" y="142"/>
                  </a:cubicBezTo>
                  <a:cubicBezTo>
                    <a:pt x="60" y="142"/>
                    <a:pt x="46" y="138"/>
                    <a:pt x="34" y="130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50" y="130"/>
                    <a:pt x="62" y="134"/>
                    <a:pt x="75" y="134"/>
                  </a:cubicBezTo>
                  <a:cubicBezTo>
                    <a:pt x="110" y="134"/>
                    <a:pt x="138" y="106"/>
                    <a:pt x="138" y="71"/>
                  </a:cubicBezTo>
                  <a:cubicBezTo>
                    <a:pt x="138" y="37"/>
                    <a:pt x="110" y="8"/>
                    <a:pt x="75" y="8"/>
                  </a:cubicBezTo>
                  <a:cubicBezTo>
                    <a:pt x="40" y="8"/>
                    <a:pt x="12" y="37"/>
                    <a:pt x="12" y="71"/>
                  </a:cubicBezTo>
                  <a:cubicBezTo>
                    <a:pt x="12" y="81"/>
                    <a:pt x="14" y="90"/>
                    <a:pt x="18" y="98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0" y="107"/>
                    <a:pt x="0" y="107"/>
                    <a:pt x="0" y="107"/>
                  </a:cubicBezTo>
                  <a:lnTo>
                    <a:pt x="2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456552" y="5379331"/>
              <a:ext cx="1554559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Reduce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operations costs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637592" y="4722102"/>
            <a:ext cx="1121086" cy="1269964"/>
            <a:chOff x="6637652" y="4595017"/>
            <a:chExt cx="1121245" cy="1270144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595017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37652" y="5379331"/>
              <a:ext cx="1121245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Backup an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723754" y="4817339"/>
            <a:ext cx="1073674" cy="1174727"/>
            <a:chOff x="8675985" y="4690267"/>
            <a:chExt cx="1073827" cy="1174894"/>
          </a:xfrm>
        </p:grpSpPr>
        <p:sp>
          <p:nvSpPr>
            <p:cNvPr id="79" name="Freeform 150"/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8675985" y="5379331"/>
              <a:ext cx="107382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Testing in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production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592428" y="4776861"/>
            <a:ext cx="1171768" cy="1215202"/>
            <a:chOff x="10593050" y="4649786"/>
            <a:chExt cx="1171934" cy="1215375"/>
          </a:xfrm>
        </p:grpSpPr>
        <p:sp>
          <p:nvSpPr>
            <p:cNvPr id="24" name="Freeform 21"/>
            <p:cNvSpPr>
              <a:spLocks noChangeAspect="1" noEditPoints="1"/>
            </p:cNvSpPr>
            <p:nvPr/>
          </p:nvSpPr>
          <p:spPr bwMode="auto">
            <a:xfrm>
              <a:off x="10807542" y="4649786"/>
              <a:ext cx="742950" cy="621507"/>
            </a:xfrm>
            <a:custGeom>
              <a:avLst/>
              <a:gdLst>
                <a:gd name="T0" fmla="*/ 95 w 161"/>
                <a:gd name="T1" fmla="*/ 134 h 134"/>
                <a:gd name="T2" fmla="*/ 83 w 161"/>
                <a:gd name="T3" fmla="*/ 123 h 134"/>
                <a:gd name="T4" fmla="*/ 95 w 161"/>
                <a:gd name="T5" fmla="*/ 111 h 134"/>
                <a:gd name="T6" fmla="*/ 106 w 161"/>
                <a:gd name="T7" fmla="*/ 123 h 134"/>
                <a:gd name="T8" fmla="*/ 95 w 161"/>
                <a:gd name="T9" fmla="*/ 134 h 134"/>
                <a:gd name="T10" fmla="*/ 95 w 161"/>
                <a:gd name="T11" fmla="*/ 119 h 134"/>
                <a:gd name="T12" fmla="*/ 91 w 161"/>
                <a:gd name="T13" fmla="*/ 123 h 134"/>
                <a:gd name="T14" fmla="*/ 95 w 161"/>
                <a:gd name="T15" fmla="*/ 126 h 134"/>
                <a:gd name="T16" fmla="*/ 98 w 161"/>
                <a:gd name="T17" fmla="*/ 123 h 134"/>
                <a:gd name="T18" fmla="*/ 95 w 161"/>
                <a:gd name="T19" fmla="*/ 119 h 134"/>
                <a:gd name="T20" fmla="*/ 29 w 161"/>
                <a:gd name="T21" fmla="*/ 134 h 134"/>
                <a:gd name="T22" fmla="*/ 18 w 161"/>
                <a:gd name="T23" fmla="*/ 123 h 134"/>
                <a:gd name="T24" fmla="*/ 29 w 161"/>
                <a:gd name="T25" fmla="*/ 111 h 134"/>
                <a:gd name="T26" fmla="*/ 40 w 161"/>
                <a:gd name="T27" fmla="*/ 123 h 134"/>
                <a:gd name="T28" fmla="*/ 29 w 161"/>
                <a:gd name="T29" fmla="*/ 134 h 134"/>
                <a:gd name="T30" fmla="*/ 29 w 161"/>
                <a:gd name="T31" fmla="*/ 119 h 134"/>
                <a:gd name="T32" fmla="*/ 26 w 161"/>
                <a:gd name="T33" fmla="*/ 123 h 134"/>
                <a:gd name="T34" fmla="*/ 29 w 161"/>
                <a:gd name="T35" fmla="*/ 126 h 134"/>
                <a:gd name="T36" fmla="*/ 32 w 161"/>
                <a:gd name="T37" fmla="*/ 123 h 134"/>
                <a:gd name="T38" fmla="*/ 29 w 161"/>
                <a:gd name="T39" fmla="*/ 119 h 134"/>
                <a:gd name="T40" fmla="*/ 130 w 161"/>
                <a:gd name="T41" fmla="*/ 0 h 134"/>
                <a:gd name="T42" fmla="*/ 126 w 161"/>
                <a:gd name="T43" fmla="*/ 15 h 134"/>
                <a:gd name="T44" fmla="*/ 0 w 161"/>
                <a:gd name="T45" fmla="*/ 15 h 134"/>
                <a:gd name="T46" fmla="*/ 16 w 161"/>
                <a:gd name="T47" fmla="*/ 86 h 134"/>
                <a:gd name="T48" fmla="*/ 109 w 161"/>
                <a:gd name="T49" fmla="*/ 86 h 134"/>
                <a:gd name="T50" fmla="*/ 105 w 161"/>
                <a:gd name="T51" fmla="*/ 100 h 134"/>
                <a:gd name="T52" fmla="*/ 14 w 161"/>
                <a:gd name="T53" fmla="*/ 100 h 134"/>
                <a:gd name="T54" fmla="*/ 14 w 161"/>
                <a:gd name="T55" fmla="*/ 108 h 134"/>
                <a:gd name="T56" fmla="*/ 111 w 161"/>
                <a:gd name="T57" fmla="*/ 108 h 134"/>
                <a:gd name="T58" fmla="*/ 136 w 161"/>
                <a:gd name="T59" fmla="*/ 8 h 134"/>
                <a:gd name="T60" fmla="*/ 161 w 161"/>
                <a:gd name="T61" fmla="*/ 8 h 134"/>
                <a:gd name="T62" fmla="*/ 161 w 161"/>
                <a:gd name="T63" fmla="*/ 0 h 134"/>
                <a:gd name="T64" fmla="*/ 130 w 161"/>
                <a:gd name="T65" fmla="*/ 0 h 134"/>
                <a:gd name="T66" fmla="*/ 23 w 161"/>
                <a:gd name="T67" fmla="*/ 78 h 134"/>
                <a:gd name="T68" fmla="*/ 10 w 161"/>
                <a:gd name="T69" fmla="*/ 23 h 134"/>
                <a:gd name="T70" fmla="*/ 124 w 161"/>
                <a:gd name="T71" fmla="*/ 23 h 134"/>
                <a:gd name="T72" fmla="*/ 111 w 161"/>
                <a:gd name="T73" fmla="*/ 78 h 134"/>
                <a:gd name="T74" fmla="*/ 23 w 161"/>
                <a:gd name="T75" fmla="*/ 7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134">
                  <a:moveTo>
                    <a:pt x="95" y="134"/>
                  </a:moveTo>
                  <a:cubicBezTo>
                    <a:pt x="88" y="134"/>
                    <a:pt x="83" y="129"/>
                    <a:pt x="83" y="123"/>
                  </a:cubicBezTo>
                  <a:cubicBezTo>
                    <a:pt x="83" y="116"/>
                    <a:pt x="88" y="111"/>
                    <a:pt x="95" y="111"/>
                  </a:cubicBezTo>
                  <a:cubicBezTo>
                    <a:pt x="101" y="111"/>
                    <a:pt x="106" y="116"/>
                    <a:pt x="106" y="123"/>
                  </a:cubicBezTo>
                  <a:cubicBezTo>
                    <a:pt x="106" y="129"/>
                    <a:pt x="101" y="134"/>
                    <a:pt x="95" y="134"/>
                  </a:cubicBezTo>
                  <a:close/>
                  <a:moveTo>
                    <a:pt x="95" y="119"/>
                  </a:moveTo>
                  <a:cubicBezTo>
                    <a:pt x="93" y="119"/>
                    <a:pt x="91" y="121"/>
                    <a:pt x="91" y="123"/>
                  </a:cubicBezTo>
                  <a:cubicBezTo>
                    <a:pt x="91" y="125"/>
                    <a:pt x="93" y="126"/>
                    <a:pt x="95" y="126"/>
                  </a:cubicBezTo>
                  <a:cubicBezTo>
                    <a:pt x="96" y="126"/>
                    <a:pt x="98" y="125"/>
                    <a:pt x="98" y="123"/>
                  </a:cubicBezTo>
                  <a:cubicBezTo>
                    <a:pt x="98" y="121"/>
                    <a:pt x="96" y="119"/>
                    <a:pt x="95" y="119"/>
                  </a:cubicBezTo>
                  <a:close/>
                  <a:moveTo>
                    <a:pt x="29" y="134"/>
                  </a:moveTo>
                  <a:cubicBezTo>
                    <a:pt x="23" y="134"/>
                    <a:pt x="18" y="129"/>
                    <a:pt x="18" y="123"/>
                  </a:cubicBezTo>
                  <a:cubicBezTo>
                    <a:pt x="18" y="116"/>
                    <a:pt x="23" y="111"/>
                    <a:pt x="29" y="111"/>
                  </a:cubicBezTo>
                  <a:cubicBezTo>
                    <a:pt x="35" y="111"/>
                    <a:pt x="40" y="116"/>
                    <a:pt x="40" y="123"/>
                  </a:cubicBezTo>
                  <a:cubicBezTo>
                    <a:pt x="40" y="129"/>
                    <a:pt x="35" y="134"/>
                    <a:pt x="29" y="134"/>
                  </a:cubicBezTo>
                  <a:close/>
                  <a:moveTo>
                    <a:pt x="29" y="119"/>
                  </a:moveTo>
                  <a:cubicBezTo>
                    <a:pt x="27" y="119"/>
                    <a:pt x="26" y="121"/>
                    <a:pt x="26" y="123"/>
                  </a:cubicBezTo>
                  <a:cubicBezTo>
                    <a:pt x="26" y="125"/>
                    <a:pt x="27" y="126"/>
                    <a:pt x="29" y="126"/>
                  </a:cubicBezTo>
                  <a:cubicBezTo>
                    <a:pt x="31" y="126"/>
                    <a:pt x="32" y="125"/>
                    <a:pt x="32" y="123"/>
                  </a:cubicBezTo>
                  <a:cubicBezTo>
                    <a:pt x="32" y="121"/>
                    <a:pt x="31" y="119"/>
                    <a:pt x="29" y="119"/>
                  </a:cubicBezTo>
                  <a:close/>
                  <a:moveTo>
                    <a:pt x="130" y="0"/>
                  </a:moveTo>
                  <a:cubicBezTo>
                    <a:pt x="126" y="15"/>
                    <a:pt x="126" y="15"/>
                    <a:pt x="12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30" y="0"/>
                  </a:lnTo>
                  <a:close/>
                  <a:moveTo>
                    <a:pt x="23" y="78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1" y="78"/>
                    <a:pt x="111" y="78"/>
                    <a:pt x="111" y="78"/>
                  </a:cubicBezTo>
                  <a:lnTo>
                    <a:pt x="23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0593050" y="5379330"/>
              <a:ext cx="1171934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pp gallery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marketplac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04400" y="2797269"/>
            <a:ext cx="1505291" cy="1312994"/>
            <a:chOff x="503589" y="2669912"/>
            <a:chExt cx="1505504" cy="1313180"/>
          </a:xfrm>
        </p:grpSpPr>
        <p:sp>
          <p:nvSpPr>
            <p:cNvPr id="73" name="Freeform 90"/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503589" y="3497262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492541" y="2883696"/>
            <a:ext cx="1454039" cy="1026997"/>
            <a:chOff x="2492013" y="2756352"/>
            <a:chExt cx="1454245" cy="1027142"/>
          </a:xfrm>
        </p:grpSpPr>
        <p:sp>
          <p:nvSpPr>
            <p:cNvPr id="15" name="Freeform 9"/>
            <p:cNvSpPr>
              <a:spLocks noChangeAspect="1" noEditPoints="1"/>
            </p:cNvSpPr>
            <p:nvPr/>
          </p:nvSpPr>
          <p:spPr bwMode="auto">
            <a:xfrm>
              <a:off x="2826574" y="2756352"/>
              <a:ext cx="785123" cy="548640"/>
            </a:xfrm>
            <a:custGeom>
              <a:avLst/>
              <a:gdLst>
                <a:gd name="T0" fmla="*/ 28 w 128"/>
                <a:gd name="T1" fmla="*/ 88 h 88"/>
                <a:gd name="T2" fmla="*/ 94 w 128"/>
                <a:gd name="T3" fmla="*/ 88 h 88"/>
                <a:gd name="T4" fmla="*/ 128 w 128"/>
                <a:gd name="T5" fmla="*/ 54 h 88"/>
                <a:gd name="T6" fmla="*/ 96 w 128"/>
                <a:gd name="T7" fmla="*/ 20 h 88"/>
                <a:gd name="T8" fmla="*/ 64 w 128"/>
                <a:gd name="T9" fmla="*/ 0 h 88"/>
                <a:gd name="T10" fmla="*/ 28 w 128"/>
                <a:gd name="T11" fmla="*/ 32 h 88"/>
                <a:gd name="T12" fmla="*/ 28 w 128"/>
                <a:gd name="T13" fmla="*/ 32 h 88"/>
                <a:gd name="T14" fmla="*/ 0 w 128"/>
                <a:gd name="T15" fmla="*/ 60 h 88"/>
                <a:gd name="T16" fmla="*/ 28 w 128"/>
                <a:gd name="T17" fmla="*/ 88 h 88"/>
                <a:gd name="T18" fmla="*/ 28 w 128"/>
                <a:gd name="T19" fmla="*/ 40 h 88"/>
                <a:gd name="T20" fmla="*/ 31 w 128"/>
                <a:gd name="T21" fmla="*/ 40 h 88"/>
                <a:gd name="T22" fmla="*/ 36 w 128"/>
                <a:gd name="T23" fmla="*/ 41 h 88"/>
                <a:gd name="T24" fmla="*/ 36 w 128"/>
                <a:gd name="T25" fmla="*/ 36 h 88"/>
                <a:gd name="T26" fmla="*/ 64 w 128"/>
                <a:gd name="T27" fmla="*/ 8 h 88"/>
                <a:gd name="T28" fmla="*/ 90 w 128"/>
                <a:gd name="T29" fmla="*/ 26 h 88"/>
                <a:gd name="T30" fmla="*/ 91 w 128"/>
                <a:gd name="T31" fmla="*/ 28 h 88"/>
                <a:gd name="T32" fmla="*/ 94 w 128"/>
                <a:gd name="T33" fmla="*/ 28 h 88"/>
                <a:gd name="T34" fmla="*/ 120 w 128"/>
                <a:gd name="T35" fmla="*/ 54 h 88"/>
                <a:gd name="T36" fmla="*/ 94 w 128"/>
                <a:gd name="T37" fmla="*/ 80 h 88"/>
                <a:gd name="T38" fmla="*/ 28 w 128"/>
                <a:gd name="T39" fmla="*/ 80 h 88"/>
                <a:gd name="T40" fmla="*/ 8 w 128"/>
                <a:gd name="T41" fmla="*/ 60 h 88"/>
                <a:gd name="T42" fmla="*/ 28 w 128"/>
                <a:gd name="T43" fmla="*/ 40 h 88"/>
                <a:gd name="T44" fmla="*/ 38 w 128"/>
                <a:gd name="T45" fmla="*/ 80 h 88"/>
                <a:gd name="T46" fmla="*/ 33 w 128"/>
                <a:gd name="T47" fmla="*/ 74 h 88"/>
                <a:gd name="T48" fmla="*/ 38 w 128"/>
                <a:gd name="T49" fmla="*/ 69 h 88"/>
                <a:gd name="T50" fmla="*/ 43 w 128"/>
                <a:gd name="T51" fmla="*/ 75 h 88"/>
                <a:gd name="T52" fmla="*/ 38 w 128"/>
                <a:gd name="T53" fmla="*/ 80 h 88"/>
                <a:gd name="T54" fmla="*/ 49 w 128"/>
                <a:gd name="T55" fmla="*/ 70 h 88"/>
                <a:gd name="T56" fmla="*/ 44 w 128"/>
                <a:gd name="T57" fmla="*/ 64 h 88"/>
                <a:gd name="T58" fmla="*/ 50 w 128"/>
                <a:gd name="T59" fmla="*/ 59 h 88"/>
                <a:gd name="T60" fmla="*/ 55 w 128"/>
                <a:gd name="T61" fmla="*/ 65 h 88"/>
                <a:gd name="T62" fmla="*/ 49 w 128"/>
                <a:gd name="T63" fmla="*/ 70 h 88"/>
                <a:gd name="T64" fmla="*/ 61 w 128"/>
                <a:gd name="T65" fmla="*/ 60 h 88"/>
                <a:gd name="T66" fmla="*/ 55 w 128"/>
                <a:gd name="T67" fmla="*/ 54 h 88"/>
                <a:gd name="T68" fmla="*/ 61 w 128"/>
                <a:gd name="T69" fmla="*/ 49 h 88"/>
                <a:gd name="T70" fmla="*/ 66 w 128"/>
                <a:gd name="T71" fmla="*/ 55 h 88"/>
                <a:gd name="T72" fmla="*/ 61 w 128"/>
                <a:gd name="T73" fmla="*/ 60 h 88"/>
                <a:gd name="T74" fmla="*/ 72 w 128"/>
                <a:gd name="T75" fmla="*/ 50 h 88"/>
                <a:gd name="T76" fmla="*/ 67 w 128"/>
                <a:gd name="T77" fmla="*/ 44 h 88"/>
                <a:gd name="T78" fmla="*/ 73 w 128"/>
                <a:gd name="T79" fmla="*/ 39 h 88"/>
                <a:gd name="T80" fmla="*/ 78 w 128"/>
                <a:gd name="T81" fmla="*/ 45 h 88"/>
                <a:gd name="T82" fmla="*/ 72 w 128"/>
                <a:gd name="T83" fmla="*/ 50 h 88"/>
                <a:gd name="T84" fmla="*/ 83 w 128"/>
                <a:gd name="T85" fmla="*/ 40 h 88"/>
                <a:gd name="T86" fmla="*/ 78 w 128"/>
                <a:gd name="T87" fmla="*/ 34 h 88"/>
                <a:gd name="T88" fmla="*/ 84 w 128"/>
                <a:gd name="T89" fmla="*/ 29 h 88"/>
                <a:gd name="T90" fmla="*/ 89 w 128"/>
                <a:gd name="T91" fmla="*/ 35 h 88"/>
                <a:gd name="T92" fmla="*/ 83 w 128"/>
                <a:gd name="T93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" h="88">
                  <a:moveTo>
                    <a:pt x="28" y="88"/>
                  </a:moveTo>
                  <a:cubicBezTo>
                    <a:pt x="94" y="88"/>
                    <a:pt x="94" y="88"/>
                    <a:pt x="94" y="88"/>
                  </a:cubicBezTo>
                  <a:cubicBezTo>
                    <a:pt x="113" y="88"/>
                    <a:pt x="128" y="73"/>
                    <a:pt x="128" y="54"/>
                  </a:cubicBezTo>
                  <a:cubicBezTo>
                    <a:pt x="128" y="36"/>
                    <a:pt x="114" y="21"/>
                    <a:pt x="96" y="20"/>
                  </a:cubicBezTo>
                  <a:cubicBezTo>
                    <a:pt x="90" y="8"/>
                    <a:pt x="78" y="0"/>
                    <a:pt x="64" y="0"/>
                  </a:cubicBezTo>
                  <a:cubicBezTo>
                    <a:pt x="46" y="0"/>
                    <a:pt x="30" y="14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3" y="32"/>
                    <a:pt x="0" y="45"/>
                    <a:pt x="0" y="60"/>
                  </a:cubicBezTo>
                  <a:cubicBezTo>
                    <a:pt x="0" y="75"/>
                    <a:pt x="13" y="88"/>
                    <a:pt x="28" y="88"/>
                  </a:cubicBezTo>
                  <a:close/>
                  <a:moveTo>
                    <a:pt x="28" y="40"/>
                  </a:moveTo>
                  <a:cubicBezTo>
                    <a:pt x="29" y="40"/>
                    <a:pt x="30" y="40"/>
                    <a:pt x="31" y="40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21"/>
                    <a:pt x="49" y="8"/>
                    <a:pt x="64" y="8"/>
                  </a:cubicBezTo>
                  <a:cubicBezTo>
                    <a:pt x="75" y="8"/>
                    <a:pt x="86" y="15"/>
                    <a:pt x="90" y="2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108" y="28"/>
                    <a:pt x="120" y="40"/>
                    <a:pt x="120" y="54"/>
                  </a:cubicBezTo>
                  <a:cubicBezTo>
                    <a:pt x="120" y="68"/>
                    <a:pt x="108" y="80"/>
                    <a:pt x="94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17" y="80"/>
                    <a:pt x="8" y="71"/>
                    <a:pt x="8" y="60"/>
                  </a:cubicBezTo>
                  <a:cubicBezTo>
                    <a:pt x="8" y="49"/>
                    <a:pt x="17" y="40"/>
                    <a:pt x="28" y="40"/>
                  </a:cubicBezTo>
                  <a:close/>
                  <a:moveTo>
                    <a:pt x="38" y="80"/>
                  </a:moveTo>
                  <a:cubicBezTo>
                    <a:pt x="33" y="74"/>
                    <a:pt x="33" y="74"/>
                    <a:pt x="33" y="74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38" y="80"/>
                  </a:lnTo>
                  <a:close/>
                  <a:moveTo>
                    <a:pt x="49" y="70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5" y="65"/>
                    <a:pt x="55" y="65"/>
                    <a:pt x="55" y="65"/>
                  </a:cubicBezTo>
                  <a:lnTo>
                    <a:pt x="49" y="70"/>
                  </a:lnTo>
                  <a:close/>
                  <a:moveTo>
                    <a:pt x="61" y="60"/>
                  </a:moveTo>
                  <a:cubicBezTo>
                    <a:pt x="55" y="54"/>
                    <a:pt x="55" y="54"/>
                    <a:pt x="55" y="54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1" y="60"/>
                  </a:lnTo>
                  <a:close/>
                  <a:moveTo>
                    <a:pt x="72" y="50"/>
                  </a:moveTo>
                  <a:cubicBezTo>
                    <a:pt x="67" y="44"/>
                    <a:pt x="67" y="44"/>
                    <a:pt x="67" y="44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8" y="45"/>
                    <a:pt x="78" y="45"/>
                    <a:pt x="78" y="45"/>
                  </a:cubicBezTo>
                  <a:lnTo>
                    <a:pt x="72" y="50"/>
                  </a:lnTo>
                  <a:close/>
                  <a:moveTo>
                    <a:pt x="83" y="40"/>
                  </a:moveTo>
                  <a:cubicBezTo>
                    <a:pt x="78" y="34"/>
                    <a:pt x="78" y="34"/>
                    <a:pt x="78" y="34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9" y="35"/>
                    <a:pt x="89" y="35"/>
                    <a:pt x="89" y="35"/>
                  </a:cubicBezTo>
                  <a:lnTo>
                    <a:pt x="83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2492013" y="3497262"/>
              <a:ext cx="1454245" cy="286232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support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348082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8301728" y="2805601"/>
            <a:ext cx="2031734" cy="1304659"/>
            <a:chOff x="8253898" y="2678247"/>
            <a:chExt cx="2032022" cy="1304845"/>
          </a:xfrm>
        </p:grpSpPr>
        <p:sp>
          <p:nvSpPr>
            <p:cNvPr id="18" name="Freeform 13"/>
            <p:cNvSpPr>
              <a:spLocks noChangeAspect="1" noEditPoints="1"/>
            </p:cNvSpPr>
            <p:nvPr/>
          </p:nvSpPr>
          <p:spPr bwMode="auto">
            <a:xfrm>
              <a:off x="8897382" y="2678247"/>
              <a:ext cx="631032" cy="704850"/>
            </a:xfrm>
            <a:custGeom>
              <a:avLst/>
              <a:gdLst>
                <a:gd name="T0" fmla="*/ 115 w 136"/>
                <a:gd name="T1" fmla="*/ 87 h 152"/>
                <a:gd name="T2" fmla="*/ 34 w 136"/>
                <a:gd name="T3" fmla="*/ 76 h 152"/>
                <a:gd name="T4" fmla="*/ 19 w 136"/>
                <a:gd name="T5" fmla="*/ 122 h 152"/>
                <a:gd name="T6" fmla="*/ 8 w 136"/>
                <a:gd name="T7" fmla="*/ 152 h 152"/>
                <a:gd name="T8" fmla="*/ 59 w 136"/>
                <a:gd name="T9" fmla="*/ 152 h 152"/>
                <a:gd name="T10" fmla="*/ 67 w 136"/>
                <a:gd name="T11" fmla="*/ 152 h 152"/>
                <a:gd name="T12" fmla="*/ 92 w 136"/>
                <a:gd name="T13" fmla="*/ 144 h 152"/>
                <a:gd name="T14" fmla="*/ 83 w 136"/>
                <a:gd name="T15" fmla="*/ 137 h 152"/>
                <a:gd name="T16" fmla="*/ 100 w 136"/>
                <a:gd name="T17" fmla="*/ 152 h 152"/>
                <a:gd name="T18" fmla="*/ 136 w 136"/>
                <a:gd name="T19" fmla="*/ 95 h 152"/>
                <a:gd name="T20" fmla="*/ 128 w 136"/>
                <a:gd name="T21" fmla="*/ 103 h 152"/>
                <a:gd name="T22" fmla="*/ 115 w 136"/>
                <a:gd name="T23" fmla="*/ 110 h 152"/>
                <a:gd name="T24" fmla="*/ 128 w 136"/>
                <a:gd name="T25" fmla="*/ 103 h 152"/>
                <a:gd name="T26" fmla="*/ 128 w 136"/>
                <a:gd name="T27" fmla="*/ 124 h 152"/>
                <a:gd name="T28" fmla="*/ 115 w 136"/>
                <a:gd name="T29" fmla="*/ 118 h 152"/>
                <a:gd name="T30" fmla="*/ 17 w 136"/>
                <a:gd name="T31" fmla="*/ 101 h 152"/>
                <a:gd name="T32" fmla="*/ 51 w 136"/>
                <a:gd name="T33" fmla="*/ 101 h 152"/>
                <a:gd name="T34" fmla="*/ 17 w 136"/>
                <a:gd name="T35" fmla="*/ 101 h 152"/>
                <a:gd name="T36" fmla="*/ 59 w 136"/>
                <a:gd name="T37" fmla="*/ 101 h 152"/>
                <a:gd name="T38" fmla="*/ 107 w 136"/>
                <a:gd name="T39" fmla="*/ 95 h 152"/>
                <a:gd name="T40" fmla="*/ 59 w 136"/>
                <a:gd name="T41" fmla="*/ 129 h 152"/>
                <a:gd name="T42" fmla="*/ 75 w 136"/>
                <a:gd name="T43" fmla="*/ 144 h 152"/>
                <a:gd name="T44" fmla="*/ 64 w 136"/>
                <a:gd name="T45" fmla="*/ 137 h 152"/>
                <a:gd name="T46" fmla="*/ 75 w 136"/>
                <a:gd name="T47" fmla="*/ 144 h 152"/>
                <a:gd name="T48" fmla="*/ 108 w 136"/>
                <a:gd name="T49" fmla="*/ 137 h 152"/>
                <a:gd name="T50" fmla="*/ 115 w 136"/>
                <a:gd name="T51" fmla="*/ 132 h 152"/>
                <a:gd name="T52" fmla="*/ 128 w 136"/>
                <a:gd name="T53" fmla="*/ 144 h 152"/>
                <a:gd name="T54" fmla="*/ 67 w 136"/>
                <a:gd name="T55" fmla="*/ 81 h 152"/>
                <a:gd name="T56" fmla="*/ 57 w 136"/>
                <a:gd name="T57" fmla="*/ 41 h 152"/>
                <a:gd name="T58" fmla="*/ 115 w 136"/>
                <a:gd name="T59" fmla="*/ 13 h 152"/>
                <a:gd name="T60" fmla="*/ 82 w 136"/>
                <a:gd name="T61" fmla="*/ 72 h 152"/>
                <a:gd name="T62" fmla="*/ 92 w 136"/>
                <a:gd name="T63" fmla="*/ 12 h 152"/>
                <a:gd name="T64" fmla="*/ 65 w 136"/>
                <a:gd name="T65" fmla="*/ 41 h 152"/>
                <a:gd name="T66" fmla="*/ 76 w 136"/>
                <a:gd name="T67" fmla="*/ 60 h 152"/>
                <a:gd name="T68" fmla="*/ 82 w 136"/>
                <a:gd name="T69" fmla="*/ 64 h 152"/>
                <a:gd name="T70" fmla="*/ 112 w 136"/>
                <a:gd name="T71" fmla="*/ 57 h 152"/>
                <a:gd name="T72" fmla="*/ 92 w 136"/>
                <a:gd name="T73" fmla="*/ 12 h 152"/>
                <a:gd name="T74" fmla="*/ 76 w 136"/>
                <a:gd name="T75" fmla="*/ 32 h 152"/>
                <a:gd name="T76" fmla="*/ 91 w 136"/>
                <a:gd name="T77" fmla="*/ 45 h 152"/>
                <a:gd name="T78" fmla="*/ 99 w 136"/>
                <a:gd name="T79" fmla="*/ 49 h 152"/>
                <a:gd name="T80" fmla="*/ 102 w 136"/>
                <a:gd name="T81" fmla="*/ 38 h 152"/>
                <a:gd name="T82" fmla="*/ 99 w 136"/>
                <a:gd name="T83" fmla="*/ 26 h 152"/>
                <a:gd name="T84" fmla="*/ 99 w 136"/>
                <a:gd name="T85" fmla="*/ 4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" h="152">
                  <a:moveTo>
                    <a:pt x="115" y="95"/>
                  </a:moveTo>
                  <a:cubicBezTo>
                    <a:pt x="115" y="87"/>
                    <a:pt x="115" y="87"/>
                    <a:pt x="115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49" y="80"/>
                    <a:pt x="42" y="76"/>
                    <a:pt x="34" y="76"/>
                  </a:cubicBezTo>
                  <a:cubicBezTo>
                    <a:pt x="20" y="76"/>
                    <a:pt x="9" y="88"/>
                    <a:pt x="9" y="101"/>
                  </a:cubicBezTo>
                  <a:cubicBezTo>
                    <a:pt x="9" y="110"/>
                    <a:pt x="13" y="117"/>
                    <a:pt x="19" y="122"/>
                  </a:cubicBezTo>
                  <a:cubicBezTo>
                    <a:pt x="8" y="127"/>
                    <a:pt x="0" y="139"/>
                    <a:pt x="0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38"/>
                    <a:pt x="20" y="126"/>
                    <a:pt x="34" y="126"/>
                  </a:cubicBezTo>
                  <a:cubicBezTo>
                    <a:pt x="48" y="126"/>
                    <a:pt x="59" y="138"/>
                    <a:pt x="59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100" y="137"/>
                    <a:pt x="100" y="137"/>
                    <a:pt x="100" y="137"/>
                  </a:cubicBezTo>
                  <a:cubicBezTo>
                    <a:pt x="100" y="152"/>
                    <a:pt x="100" y="152"/>
                    <a:pt x="100" y="152"/>
                  </a:cubicBezTo>
                  <a:cubicBezTo>
                    <a:pt x="136" y="152"/>
                    <a:pt x="136" y="152"/>
                    <a:pt x="136" y="152"/>
                  </a:cubicBezTo>
                  <a:cubicBezTo>
                    <a:pt x="136" y="95"/>
                    <a:pt x="136" y="95"/>
                    <a:pt x="136" y="95"/>
                  </a:cubicBezTo>
                  <a:lnTo>
                    <a:pt x="115" y="95"/>
                  </a:lnTo>
                  <a:close/>
                  <a:moveTo>
                    <a:pt x="128" y="103"/>
                  </a:moveTo>
                  <a:cubicBezTo>
                    <a:pt x="128" y="110"/>
                    <a:pt x="128" y="110"/>
                    <a:pt x="128" y="110"/>
                  </a:cubicBezTo>
                  <a:cubicBezTo>
                    <a:pt x="115" y="110"/>
                    <a:pt x="115" y="110"/>
                    <a:pt x="115" y="110"/>
                  </a:cubicBezTo>
                  <a:cubicBezTo>
                    <a:pt x="115" y="103"/>
                    <a:pt x="115" y="103"/>
                    <a:pt x="115" y="103"/>
                  </a:cubicBezTo>
                  <a:lnTo>
                    <a:pt x="128" y="103"/>
                  </a:lnTo>
                  <a:close/>
                  <a:moveTo>
                    <a:pt x="128" y="118"/>
                  </a:moveTo>
                  <a:cubicBezTo>
                    <a:pt x="128" y="124"/>
                    <a:pt x="128" y="124"/>
                    <a:pt x="128" y="124"/>
                  </a:cubicBezTo>
                  <a:cubicBezTo>
                    <a:pt x="115" y="124"/>
                    <a:pt x="115" y="124"/>
                    <a:pt x="115" y="124"/>
                  </a:cubicBezTo>
                  <a:cubicBezTo>
                    <a:pt x="115" y="118"/>
                    <a:pt x="115" y="118"/>
                    <a:pt x="115" y="118"/>
                  </a:cubicBezTo>
                  <a:lnTo>
                    <a:pt x="128" y="118"/>
                  </a:lnTo>
                  <a:close/>
                  <a:moveTo>
                    <a:pt x="17" y="101"/>
                  </a:moveTo>
                  <a:cubicBezTo>
                    <a:pt x="17" y="92"/>
                    <a:pt x="24" y="84"/>
                    <a:pt x="34" y="84"/>
                  </a:cubicBezTo>
                  <a:cubicBezTo>
                    <a:pt x="43" y="84"/>
                    <a:pt x="51" y="92"/>
                    <a:pt x="51" y="101"/>
                  </a:cubicBezTo>
                  <a:cubicBezTo>
                    <a:pt x="51" y="111"/>
                    <a:pt x="43" y="118"/>
                    <a:pt x="34" y="118"/>
                  </a:cubicBezTo>
                  <a:cubicBezTo>
                    <a:pt x="24" y="118"/>
                    <a:pt x="17" y="111"/>
                    <a:pt x="17" y="101"/>
                  </a:cubicBezTo>
                  <a:close/>
                  <a:moveTo>
                    <a:pt x="48" y="122"/>
                  </a:moveTo>
                  <a:cubicBezTo>
                    <a:pt x="55" y="117"/>
                    <a:pt x="59" y="110"/>
                    <a:pt x="59" y="101"/>
                  </a:cubicBezTo>
                  <a:cubicBezTo>
                    <a:pt x="59" y="99"/>
                    <a:pt x="58" y="97"/>
                    <a:pt x="58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129"/>
                    <a:pt x="107" y="129"/>
                    <a:pt x="107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6" y="126"/>
                    <a:pt x="52" y="123"/>
                    <a:pt x="48" y="122"/>
                  </a:cubicBezTo>
                  <a:close/>
                  <a:moveTo>
                    <a:pt x="75" y="144"/>
                  </a:moveTo>
                  <a:cubicBezTo>
                    <a:pt x="66" y="144"/>
                    <a:pt x="66" y="144"/>
                    <a:pt x="66" y="144"/>
                  </a:cubicBezTo>
                  <a:cubicBezTo>
                    <a:pt x="66" y="142"/>
                    <a:pt x="65" y="139"/>
                    <a:pt x="64" y="137"/>
                  </a:cubicBezTo>
                  <a:cubicBezTo>
                    <a:pt x="75" y="137"/>
                    <a:pt x="75" y="137"/>
                    <a:pt x="75" y="137"/>
                  </a:cubicBezTo>
                  <a:lnTo>
                    <a:pt x="75" y="144"/>
                  </a:lnTo>
                  <a:close/>
                  <a:moveTo>
                    <a:pt x="108" y="144"/>
                  </a:moveTo>
                  <a:cubicBezTo>
                    <a:pt x="108" y="137"/>
                    <a:pt x="108" y="137"/>
                    <a:pt x="108" y="137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44"/>
                    <a:pt x="128" y="144"/>
                    <a:pt x="128" y="144"/>
                  </a:cubicBezTo>
                  <a:lnTo>
                    <a:pt x="108" y="144"/>
                  </a:lnTo>
                  <a:close/>
                  <a:moveTo>
                    <a:pt x="67" y="81"/>
                  </a:moveTo>
                  <a:cubicBezTo>
                    <a:pt x="68" y="64"/>
                    <a:pt x="68" y="64"/>
                    <a:pt x="68" y="64"/>
                  </a:cubicBezTo>
                  <a:cubicBezTo>
                    <a:pt x="62" y="58"/>
                    <a:pt x="58" y="50"/>
                    <a:pt x="57" y="41"/>
                  </a:cubicBezTo>
                  <a:cubicBezTo>
                    <a:pt x="57" y="32"/>
                    <a:pt x="60" y="23"/>
                    <a:pt x="66" y="16"/>
                  </a:cubicBezTo>
                  <a:cubicBezTo>
                    <a:pt x="79" y="1"/>
                    <a:pt x="101" y="0"/>
                    <a:pt x="115" y="13"/>
                  </a:cubicBezTo>
                  <a:cubicBezTo>
                    <a:pt x="130" y="26"/>
                    <a:pt x="131" y="48"/>
                    <a:pt x="118" y="62"/>
                  </a:cubicBezTo>
                  <a:cubicBezTo>
                    <a:pt x="109" y="72"/>
                    <a:pt x="95" y="76"/>
                    <a:pt x="82" y="72"/>
                  </a:cubicBezTo>
                  <a:lnTo>
                    <a:pt x="67" y="81"/>
                  </a:lnTo>
                  <a:close/>
                  <a:moveTo>
                    <a:pt x="92" y="12"/>
                  </a:moveTo>
                  <a:cubicBezTo>
                    <a:pt x="85" y="12"/>
                    <a:pt x="77" y="15"/>
                    <a:pt x="72" y="21"/>
                  </a:cubicBezTo>
                  <a:cubicBezTo>
                    <a:pt x="67" y="27"/>
                    <a:pt x="65" y="33"/>
                    <a:pt x="65" y="41"/>
                  </a:cubicBezTo>
                  <a:cubicBezTo>
                    <a:pt x="66" y="48"/>
                    <a:pt x="69" y="54"/>
                    <a:pt x="74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94" y="68"/>
                    <a:pt x="105" y="65"/>
                    <a:pt x="112" y="57"/>
                  </a:cubicBezTo>
                  <a:cubicBezTo>
                    <a:pt x="122" y="46"/>
                    <a:pt x="121" y="29"/>
                    <a:pt x="110" y="19"/>
                  </a:cubicBezTo>
                  <a:cubicBezTo>
                    <a:pt x="105" y="14"/>
                    <a:pt x="99" y="12"/>
                    <a:pt x="92" y="12"/>
                  </a:cubicBezTo>
                  <a:close/>
                  <a:moveTo>
                    <a:pt x="86" y="48"/>
                  </a:moveTo>
                  <a:cubicBezTo>
                    <a:pt x="76" y="32"/>
                    <a:pt x="76" y="32"/>
                    <a:pt x="76" y="32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91" y="45"/>
                    <a:pt x="91" y="45"/>
                    <a:pt x="91" y="45"/>
                  </a:cubicBezTo>
                  <a:lnTo>
                    <a:pt x="86" y="48"/>
                  </a:lnTo>
                  <a:close/>
                  <a:moveTo>
                    <a:pt x="99" y="49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110" y="38"/>
                    <a:pt x="110" y="38"/>
                    <a:pt x="110" y="38"/>
                  </a:cubicBezTo>
                  <a:lnTo>
                    <a:pt x="9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8253898" y="3497262"/>
              <a:ext cx="203202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.NET, Java, PHP, Node,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Ruby, and Python 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602241" y="2818698"/>
            <a:ext cx="1152149" cy="1291565"/>
            <a:chOff x="13749942" y="2818600"/>
            <a:chExt cx="1152312" cy="1291748"/>
          </a:xfrm>
        </p:grpSpPr>
        <p:grpSp>
          <p:nvGrpSpPr>
            <p:cNvPr id="65" name="Group 64">
              <a:extLst/>
            </p:cNvPr>
            <p:cNvGrpSpPr>
              <a:grpSpLocks noChangeAspect="1"/>
            </p:cNvGrpSpPr>
            <p:nvPr/>
          </p:nvGrpSpPr>
          <p:grpSpPr>
            <a:xfrm>
              <a:off x="14045358" y="2818600"/>
              <a:ext cx="561480" cy="676656"/>
              <a:chOff x="5480050" y="2681288"/>
              <a:chExt cx="1238250" cy="1492251"/>
            </a:xfrm>
            <a:solidFill>
              <a:srgbClr val="FFFFFF"/>
            </a:solidFill>
          </p:grpSpPr>
          <p:sp>
            <p:nvSpPr>
              <p:cNvPr id="66" name="Freeform 35">
                <a:extLst/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7" name="Rectangle 6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8" name="Rectangle 6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9" name="Rectangle 6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0" name="Rectangle 7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1" name="Rectangle 80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2" name="Rectangle 8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3" name="Rectangle 8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4" name="Rectangle 8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6" name="Rectangle 85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7" name="Rectangle 8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8" name="Rectangle 8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9" name="Rectangle 8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0" name="Rectangle 8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1" name="Rectangle 3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2" name="Rectangle 3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3" name="Rectangle 3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4" name="Rectangle 34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5" name="Freeform 35">
                <a:extLst/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6" name="Freeform 36">
                <a:extLst/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  <p:sp>
          <p:nvSpPr>
            <p:cNvPr id="99" name="TextBox 98"/>
            <p:cNvSpPr txBox="1"/>
            <p:nvPr/>
          </p:nvSpPr>
          <p:spPr>
            <a:xfrm>
              <a:off x="13749942" y="3624518"/>
              <a:ext cx="115231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ing and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deployment</a:t>
              </a:r>
            </a:p>
          </p:txBody>
        </p:sp>
      </p:grpSp>
      <p:grpSp>
        <p:nvGrpSpPr>
          <p:cNvPr id="100" name="Group 99">
            <a:extLst/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01" name="TextBox 100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102" name="Group 538">
              <a:extLst/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3" name="Line 539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4" name="Line 540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5" name="Line 541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6" name="Line 542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8" name="Line 543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9" name="Line 544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1" name="Line 545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2" name="Line 546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4" name="Oval 54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5" name="Freeform 548">
                <a:extLst/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7" name="Freeform 549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8" name="Freeform 550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20" name="Freeform 551">
                <a:extLst/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1164366" y="309236"/>
            <a:ext cx="980990" cy="976519"/>
            <a:chOff x="8787965" y="2547424"/>
            <a:chExt cx="2752006" cy="2739464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5FC40EB-D3DA-4D92-B716-74996A18F0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87965" y="2547424"/>
              <a:ext cx="2752006" cy="2739464"/>
              <a:chOff x="827088" y="-3463925"/>
              <a:chExt cx="3833812" cy="3816350"/>
            </a:xfrm>
          </p:grpSpPr>
          <p:sp>
            <p:nvSpPr>
              <p:cNvPr id="98" name="Freeform 5">
                <a:extLst>
                  <a:ext uri="{FF2B5EF4-FFF2-40B4-BE49-F238E27FC236}">
                    <a16:creationId xmlns:a16="http://schemas.microsoft.com/office/drawing/2014/main" id="{14E61F53-F055-44A9-AC56-21EA18DDF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797050" cy="1797050"/>
              </a:xfrm>
              <a:custGeom>
                <a:avLst/>
                <a:gdLst>
                  <a:gd name="T0" fmla="*/ 233 w 515"/>
                  <a:gd name="T1" fmla="*/ 221 h 515"/>
                  <a:gd name="T2" fmla="*/ 0 w 515"/>
                  <a:gd name="T3" fmla="*/ 221 h 515"/>
                  <a:gd name="T4" fmla="*/ 0 w 515"/>
                  <a:gd name="T5" fmla="*/ 463 h 515"/>
                  <a:gd name="T6" fmla="*/ 0 w 515"/>
                  <a:gd name="T7" fmla="*/ 467 h 515"/>
                  <a:gd name="T8" fmla="*/ 0 w 515"/>
                  <a:gd name="T9" fmla="*/ 468 h 515"/>
                  <a:gd name="T10" fmla="*/ 0 w 515"/>
                  <a:gd name="T11" fmla="*/ 472 h 515"/>
                  <a:gd name="T12" fmla="*/ 1 w 515"/>
                  <a:gd name="T13" fmla="*/ 472 h 515"/>
                  <a:gd name="T14" fmla="*/ 51 w 515"/>
                  <a:gd name="T15" fmla="*/ 515 h 515"/>
                  <a:gd name="T16" fmla="*/ 463 w 515"/>
                  <a:gd name="T17" fmla="*/ 515 h 515"/>
                  <a:gd name="T18" fmla="*/ 515 w 515"/>
                  <a:gd name="T19" fmla="*/ 463 h 515"/>
                  <a:gd name="T20" fmla="*/ 515 w 515"/>
                  <a:gd name="T21" fmla="*/ 51 h 515"/>
                  <a:gd name="T22" fmla="*/ 463 w 515"/>
                  <a:gd name="T23" fmla="*/ 0 h 515"/>
                  <a:gd name="T24" fmla="*/ 404 w 515"/>
                  <a:gd name="T25" fmla="*/ 0 h 515"/>
                  <a:gd name="T26" fmla="*/ 411 w 515"/>
                  <a:gd name="T27" fmla="*/ 50 h 515"/>
                  <a:gd name="T28" fmla="*/ 233 w 515"/>
                  <a:gd name="T29" fmla="*/ 221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515">
                    <a:moveTo>
                      <a:pt x="233" y="221"/>
                    </a:moveTo>
                    <a:cubicBezTo>
                      <a:pt x="196" y="221"/>
                      <a:pt x="101" y="221"/>
                      <a:pt x="0" y="22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69"/>
                      <a:pt x="0" y="471"/>
                      <a:pt x="0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1" y="515"/>
                    </a:cubicBezTo>
                    <a:cubicBezTo>
                      <a:pt x="463" y="515"/>
                      <a:pt x="463" y="515"/>
                      <a:pt x="463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404" y="0"/>
                      <a:pt x="404" y="0"/>
                      <a:pt x="404" y="0"/>
                    </a:cubicBezTo>
                    <a:cubicBezTo>
                      <a:pt x="409" y="15"/>
                      <a:pt x="411" y="32"/>
                      <a:pt x="411" y="50"/>
                    </a:cubicBezTo>
                    <a:cubicBezTo>
                      <a:pt x="411" y="148"/>
                      <a:pt x="332" y="221"/>
                      <a:pt x="233" y="221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1" name="Freeform 6">
                <a:extLst>
                  <a:ext uri="{FF2B5EF4-FFF2-40B4-BE49-F238E27FC236}">
                    <a16:creationId xmlns:a16="http://schemas.microsoft.com/office/drawing/2014/main" id="{5B7BCA8A-CA52-4DBA-B04D-D7185E745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1444625"/>
                <a:ext cx="1797050" cy="1797050"/>
              </a:xfrm>
              <a:custGeom>
                <a:avLst/>
                <a:gdLst>
                  <a:gd name="T0" fmla="*/ 106 w 515"/>
                  <a:gd name="T1" fmla="*/ 50 h 515"/>
                  <a:gd name="T2" fmla="*/ 114 w 515"/>
                  <a:gd name="T3" fmla="*/ 0 h 515"/>
                  <a:gd name="T4" fmla="*/ 52 w 515"/>
                  <a:gd name="T5" fmla="*/ 0 h 515"/>
                  <a:gd name="T6" fmla="*/ 1 w 515"/>
                  <a:gd name="T7" fmla="*/ 42 h 515"/>
                  <a:gd name="T8" fmla="*/ 1 w 515"/>
                  <a:gd name="T9" fmla="*/ 43 h 515"/>
                  <a:gd name="T10" fmla="*/ 0 w 515"/>
                  <a:gd name="T11" fmla="*/ 46 h 515"/>
                  <a:gd name="T12" fmla="*/ 0 w 515"/>
                  <a:gd name="T13" fmla="*/ 47 h 515"/>
                  <a:gd name="T14" fmla="*/ 0 w 515"/>
                  <a:gd name="T15" fmla="*/ 51 h 515"/>
                  <a:gd name="T16" fmla="*/ 0 w 515"/>
                  <a:gd name="T17" fmla="*/ 463 h 515"/>
                  <a:gd name="T18" fmla="*/ 0 w 515"/>
                  <a:gd name="T19" fmla="*/ 467 h 515"/>
                  <a:gd name="T20" fmla="*/ 0 w 515"/>
                  <a:gd name="T21" fmla="*/ 468 h 515"/>
                  <a:gd name="T22" fmla="*/ 1 w 515"/>
                  <a:gd name="T23" fmla="*/ 472 h 515"/>
                  <a:gd name="T24" fmla="*/ 1 w 515"/>
                  <a:gd name="T25" fmla="*/ 472 h 515"/>
                  <a:gd name="T26" fmla="*/ 52 w 515"/>
                  <a:gd name="T27" fmla="*/ 515 h 515"/>
                  <a:gd name="T28" fmla="*/ 464 w 515"/>
                  <a:gd name="T29" fmla="*/ 515 h 515"/>
                  <a:gd name="T30" fmla="*/ 515 w 515"/>
                  <a:gd name="T31" fmla="*/ 463 h 515"/>
                  <a:gd name="T32" fmla="*/ 515 w 515"/>
                  <a:gd name="T33" fmla="*/ 221 h 515"/>
                  <a:gd name="T34" fmla="*/ 284 w 515"/>
                  <a:gd name="T35" fmla="*/ 221 h 515"/>
                  <a:gd name="T36" fmla="*/ 106 w 515"/>
                  <a:gd name="T37" fmla="*/ 5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5" h="515">
                    <a:moveTo>
                      <a:pt x="106" y="50"/>
                    </a:moveTo>
                    <a:cubicBezTo>
                      <a:pt x="106" y="32"/>
                      <a:pt x="109" y="15"/>
                      <a:pt x="11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3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" y="469"/>
                      <a:pt x="1" y="471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2" y="515"/>
                    </a:cubicBezTo>
                    <a:cubicBezTo>
                      <a:pt x="464" y="515"/>
                      <a:pt x="464" y="515"/>
                      <a:pt x="464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221"/>
                      <a:pt x="515" y="221"/>
                      <a:pt x="515" y="221"/>
                    </a:cubicBezTo>
                    <a:cubicBezTo>
                      <a:pt x="419" y="221"/>
                      <a:pt x="327" y="221"/>
                      <a:pt x="284" y="221"/>
                    </a:cubicBezTo>
                    <a:cubicBezTo>
                      <a:pt x="186" y="221"/>
                      <a:pt x="106" y="148"/>
                      <a:pt x="106" y="50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2" name="Freeform 7">
                <a:extLst>
                  <a:ext uri="{FF2B5EF4-FFF2-40B4-BE49-F238E27FC236}">
                    <a16:creationId xmlns:a16="http://schemas.microsoft.com/office/drawing/2014/main" id="{19F90C9E-5A43-4F92-A108-61D4CB054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3463925"/>
                <a:ext cx="1797050" cy="1793875"/>
              </a:xfrm>
              <a:custGeom>
                <a:avLst/>
                <a:gdLst>
                  <a:gd name="T0" fmla="*/ 515 w 515"/>
                  <a:gd name="T1" fmla="*/ 463 h 514"/>
                  <a:gd name="T2" fmla="*/ 515 w 515"/>
                  <a:gd name="T3" fmla="*/ 51 h 514"/>
                  <a:gd name="T4" fmla="*/ 463 w 515"/>
                  <a:gd name="T5" fmla="*/ 0 h 514"/>
                  <a:gd name="T6" fmla="*/ 51 w 515"/>
                  <a:gd name="T7" fmla="*/ 0 h 514"/>
                  <a:gd name="T8" fmla="*/ 1 w 515"/>
                  <a:gd name="T9" fmla="*/ 42 h 514"/>
                  <a:gd name="T10" fmla="*/ 0 w 515"/>
                  <a:gd name="T11" fmla="*/ 42 h 514"/>
                  <a:gd name="T12" fmla="*/ 0 w 515"/>
                  <a:gd name="T13" fmla="*/ 46 h 514"/>
                  <a:gd name="T14" fmla="*/ 0 w 515"/>
                  <a:gd name="T15" fmla="*/ 47 h 514"/>
                  <a:gd name="T16" fmla="*/ 0 w 515"/>
                  <a:gd name="T17" fmla="*/ 51 h 514"/>
                  <a:gd name="T18" fmla="*/ 0 w 515"/>
                  <a:gd name="T19" fmla="*/ 238 h 514"/>
                  <a:gd name="T20" fmla="*/ 56 w 515"/>
                  <a:gd name="T21" fmla="*/ 231 h 514"/>
                  <a:gd name="T22" fmla="*/ 283 w 515"/>
                  <a:gd name="T23" fmla="*/ 458 h 514"/>
                  <a:gd name="T24" fmla="*/ 282 w 515"/>
                  <a:gd name="T25" fmla="*/ 465 h 514"/>
                  <a:gd name="T26" fmla="*/ 365 w 515"/>
                  <a:gd name="T27" fmla="*/ 514 h 514"/>
                  <a:gd name="T28" fmla="*/ 463 w 515"/>
                  <a:gd name="T29" fmla="*/ 514 h 514"/>
                  <a:gd name="T30" fmla="*/ 515 w 515"/>
                  <a:gd name="T31" fmla="*/ 463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15" h="514">
                    <a:moveTo>
                      <a:pt x="515" y="463"/>
                    </a:move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0" y="42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38"/>
                      <a:pt x="0" y="238"/>
                      <a:pt x="0" y="238"/>
                    </a:cubicBezTo>
                    <a:cubicBezTo>
                      <a:pt x="18" y="233"/>
                      <a:pt x="36" y="231"/>
                      <a:pt x="56" y="231"/>
                    </a:cubicBezTo>
                    <a:cubicBezTo>
                      <a:pt x="181" y="231"/>
                      <a:pt x="283" y="332"/>
                      <a:pt x="283" y="458"/>
                    </a:cubicBezTo>
                    <a:cubicBezTo>
                      <a:pt x="283" y="460"/>
                      <a:pt x="282" y="463"/>
                      <a:pt x="282" y="465"/>
                    </a:cubicBezTo>
                    <a:cubicBezTo>
                      <a:pt x="314" y="475"/>
                      <a:pt x="343" y="492"/>
                      <a:pt x="365" y="514"/>
                    </a:cubicBezTo>
                    <a:cubicBezTo>
                      <a:pt x="463" y="514"/>
                      <a:pt x="463" y="514"/>
                      <a:pt x="463" y="514"/>
                    </a:cubicBezTo>
                    <a:cubicBezTo>
                      <a:pt x="492" y="514"/>
                      <a:pt x="515" y="491"/>
                      <a:pt x="515" y="463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3" name="Freeform 8">
                <a:extLst>
                  <a:ext uri="{FF2B5EF4-FFF2-40B4-BE49-F238E27FC236}">
                    <a16:creationId xmlns:a16="http://schemas.microsoft.com/office/drawing/2014/main" id="{7B3FAD72-A5B7-4509-8142-96B234311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3463925"/>
                <a:ext cx="1797050" cy="1793875"/>
              </a:xfrm>
              <a:custGeom>
                <a:avLst/>
                <a:gdLst>
                  <a:gd name="T0" fmla="*/ 247 w 515"/>
                  <a:gd name="T1" fmla="*/ 462 h 514"/>
                  <a:gd name="T2" fmla="*/ 245 w 515"/>
                  <a:gd name="T3" fmla="*/ 438 h 514"/>
                  <a:gd name="T4" fmla="*/ 383 w 515"/>
                  <a:gd name="T5" fmla="*/ 300 h 514"/>
                  <a:gd name="T6" fmla="*/ 458 w 515"/>
                  <a:gd name="T7" fmla="*/ 322 h 514"/>
                  <a:gd name="T8" fmla="*/ 515 w 515"/>
                  <a:gd name="T9" fmla="*/ 268 h 514"/>
                  <a:gd name="T10" fmla="*/ 515 w 515"/>
                  <a:gd name="T11" fmla="*/ 51 h 514"/>
                  <a:gd name="T12" fmla="*/ 464 w 515"/>
                  <a:gd name="T13" fmla="*/ 0 h 514"/>
                  <a:gd name="T14" fmla="*/ 52 w 515"/>
                  <a:gd name="T15" fmla="*/ 0 h 514"/>
                  <a:gd name="T16" fmla="*/ 1 w 515"/>
                  <a:gd name="T17" fmla="*/ 42 h 514"/>
                  <a:gd name="T18" fmla="*/ 1 w 515"/>
                  <a:gd name="T19" fmla="*/ 42 h 514"/>
                  <a:gd name="T20" fmla="*/ 0 w 515"/>
                  <a:gd name="T21" fmla="*/ 46 h 514"/>
                  <a:gd name="T22" fmla="*/ 0 w 515"/>
                  <a:gd name="T23" fmla="*/ 47 h 514"/>
                  <a:gd name="T24" fmla="*/ 0 w 515"/>
                  <a:gd name="T25" fmla="*/ 51 h 514"/>
                  <a:gd name="T26" fmla="*/ 0 w 515"/>
                  <a:gd name="T27" fmla="*/ 463 h 514"/>
                  <a:gd name="T28" fmla="*/ 0 w 515"/>
                  <a:gd name="T29" fmla="*/ 467 h 514"/>
                  <a:gd name="T30" fmla="*/ 0 w 515"/>
                  <a:gd name="T31" fmla="*/ 468 h 514"/>
                  <a:gd name="T32" fmla="*/ 1 w 515"/>
                  <a:gd name="T33" fmla="*/ 472 h 514"/>
                  <a:gd name="T34" fmla="*/ 1 w 515"/>
                  <a:gd name="T35" fmla="*/ 472 h 514"/>
                  <a:gd name="T36" fmla="*/ 52 w 515"/>
                  <a:gd name="T37" fmla="*/ 514 h 514"/>
                  <a:gd name="T38" fmla="*/ 151 w 515"/>
                  <a:gd name="T39" fmla="*/ 514 h 514"/>
                  <a:gd name="T40" fmla="*/ 247 w 515"/>
                  <a:gd name="T41" fmla="*/ 462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5" h="514">
                    <a:moveTo>
                      <a:pt x="247" y="462"/>
                    </a:moveTo>
                    <a:cubicBezTo>
                      <a:pt x="246" y="454"/>
                      <a:pt x="245" y="446"/>
                      <a:pt x="245" y="438"/>
                    </a:cubicBezTo>
                    <a:cubicBezTo>
                      <a:pt x="245" y="362"/>
                      <a:pt x="306" y="300"/>
                      <a:pt x="383" y="300"/>
                    </a:cubicBezTo>
                    <a:cubicBezTo>
                      <a:pt x="411" y="300"/>
                      <a:pt x="436" y="308"/>
                      <a:pt x="458" y="322"/>
                    </a:cubicBezTo>
                    <a:cubicBezTo>
                      <a:pt x="474" y="301"/>
                      <a:pt x="493" y="283"/>
                      <a:pt x="515" y="268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4"/>
                      <a:pt x="0" y="466"/>
                      <a:pt x="0" y="467"/>
                    </a:cubicBezTo>
                    <a:cubicBezTo>
                      <a:pt x="0" y="467"/>
                      <a:pt x="0" y="468"/>
                      <a:pt x="0" y="468"/>
                    </a:cubicBezTo>
                    <a:cubicBezTo>
                      <a:pt x="1" y="469"/>
                      <a:pt x="1" y="470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4"/>
                      <a:pt x="52" y="514"/>
                    </a:cubicBezTo>
                    <a:cubicBezTo>
                      <a:pt x="151" y="514"/>
                      <a:pt x="151" y="514"/>
                      <a:pt x="151" y="514"/>
                    </a:cubicBezTo>
                    <a:cubicBezTo>
                      <a:pt x="176" y="488"/>
                      <a:pt x="209" y="470"/>
                      <a:pt x="247" y="462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4" name="Freeform 9">
                <a:extLst>
                  <a:ext uri="{FF2B5EF4-FFF2-40B4-BE49-F238E27FC236}">
                    <a16:creationId xmlns:a16="http://schemas.microsoft.com/office/drawing/2014/main" id="{B2E61D7E-F677-496B-BD2F-2F0EB9314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433512" cy="771525"/>
              </a:xfrm>
              <a:custGeom>
                <a:avLst/>
                <a:gdLst>
                  <a:gd name="T0" fmla="*/ 1 w 411"/>
                  <a:gd name="T1" fmla="*/ 42 h 221"/>
                  <a:gd name="T2" fmla="*/ 0 w 411"/>
                  <a:gd name="T3" fmla="*/ 43 h 221"/>
                  <a:gd name="T4" fmla="*/ 0 w 411"/>
                  <a:gd name="T5" fmla="*/ 46 h 221"/>
                  <a:gd name="T6" fmla="*/ 0 w 411"/>
                  <a:gd name="T7" fmla="*/ 47 h 221"/>
                  <a:gd name="T8" fmla="*/ 0 w 411"/>
                  <a:gd name="T9" fmla="*/ 51 h 221"/>
                  <a:gd name="T10" fmla="*/ 0 w 411"/>
                  <a:gd name="T11" fmla="*/ 221 h 221"/>
                  <a:gd name="T12" fmla="*/ 233 w 411"/>
                  <a:gd name="T13" fmla="*/ 221 h 221"/>
                  <a:gd name="T14" fmla="*/ 411 w 411"/>
                  <a:gd name="T15" fmla="*/ 50 h 221"/>
                  <a:gd name="T16" fmla="*/ 404 w 411"/>
                  <a:gd name="T17" fmla="*/ 0 h 221"/>
                  <a:gd name="T18" fmla="*/ 51 w 411"/>
                  <a:gd name="T19" fmla="*/ 0 h 221"/>
                  <a:gd name="T20" fmla="*/ 1 w 411"/>
                  <a:gd name="T21" fmla="*/ 4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1" h="221">
                    <a:moveTo>
                      <a:pt x="1" y="42"/>
                    </a:moveTo>
                    <a:cubicBezTo>
                      <a:pt x="1" y="42"/>
                      <a:pt x="1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101" y="221"/>
                      <a:pt x="196" y="221"/>
                      <a:pt x="233" y="221"/>
                    </a:cubicBezTo>
                    <a:cubicBezTo>
                      <a:pt x="332" y="221"/>
                      <a:pt x="411" y="148"/>
                      <a:pt x="411" y="50"/>
                    </a:cubicBezTo>
                    <a:cubicBezTo>
                      <a:pt x="411" y="32"/>
                      <a:pt x="409" y="15"/>
                      <a:pt x="404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6" name="Freeform 10">
                <a:extLst>
                  <a:ext uri="{FF2B5EF4-FFF2-40B4-BE49-F238E27FC236}">
                    <a16:creationId xmlns:a16="http://schemas.microsoft.com/office/drawing/2014/main" id="{4E392385-BCDB-4E48-A325-944C46709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975" y="-1444625"/>
                <a:ext cx="1427162" cy="771525"/>
              </a:xfrm>
              <a:custGeom>
                <a:avLst/>
                <a:gdLst>
                  <a:gd name="T0" fmla="*/ 358 w 409"/>
                  <a:gd name="T1" fmla="*/ 0 h 221"/>
                  <a:gd name="T2" fmla="*/ 8 w 409"/>
                  <a:gd name="T3" fmla="*/ 0 h 221"/>
                  <a:gd name="T4" fmla="*/ 0 w 409"/>
                  <a:gd name="T5" fmla="*/ 50 h 221"/>
                  <a:gd name="T6" fmla="*/ 178 w 409"/>
                  <a:gd name="T7" fmla="*/ 221 h 221"/>
                  <a:gd name="T8" fmla="*/ 409 w 409"/>
                  <a:gd name="T9" fmla="*/ 221 h 221"/>
                  <a:gd name="T10" fmla="*/ 409 w 409"/>
                  <a:gd name="T11" fmla="*/ 51 h 221"/>
                  <a:gd name="T12" fmla="*/ 358 w 409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21">
                    <a:moveTo>
                      <a:pt x="35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3" y="15"/>
                      <a:pt x="0" y="32"/>
                      <a:pt x="0" y="50"/>
                    </a:cubicBezTo>
                    <a:cubicBezTo>
                      <a:pt x="0" y="148"/>
                      <a:pt x="80" y="221"/>
                      <a:pt x="178" y="221"/>
                    </a:cubicBezTo>
                    <a:cubicBezTo>
                      <a:pt x="221" y="221"/>
                      <a:pt x="313" y="221"/>
                      <a:pt x="409" y="221"/>
                    </a:cubicBezTo>
                    <a:cubicBezTo>
                      <a:pt x="409" y="51"/>
                      <a:pt x="409" y="51"/>
                      <a:pt x="409" y="51"/>
                    </a:cubicBezTo>
                    <a:cubicBezTo>
                      <a:pt x="409" y="23"/>
                      <a:pt x="386" y="0"/>
                      <a:pt x="35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7" name="Freeform 11">
                <a:extLst>
                  <a:ext uri="{FF2B5EF4-FFF2-40B4-BE49-F238E27FC236}">
                    <a16:creationId xmlns:a16="http://schemas.microsoft.com/office/drawing/2014/main" id="{8A16A029-82C6-49A3-BCA0-2086955777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2657475"/>
                <a:ext cx="1273175" cy="987425"/>
              </a:xfrm>
              <a:custGeom>
                <a:avLst/>
                <a:gdLst>
                  <a:gd name="T0" fmla="*/ 283 w 365"/>
                  <a:gd name="T1" fmla="*/ 227 h 283"/>
                  <a:gd name="T2" fmla="*/ 56 w 365"/>
                  <a:gd name="T3" fmla="*/ 0 h 283"/>
                  <a:gd name="T4" fmla="*/ 0 w 365"/>
                  <a:gd name="T5" fmla="*/ 7 h 283"/>
                  <a:gd name="T6" fmla="*/ 0 w 365"/>
                  <a:gd name="T7" fmla="*/ 232 h 283"/>
                  <a:gd name="T8" fmla="*/ 0 w 365"/>
                  <a:gd name="T9" fmla="*/ 236 h 283"/>
                  <a:gd name="T10" fmla="*/ 0 w 365"/>
                  <a:gd name="T11" fmla="*/ 237 h 283"/>
                  <a:gd name="T12" fmla="*/ 0 w 365"/>
                  <a:gd name="T13" fmla="*/ 241 h 283"/>
                  <a:gd name="T14" fmla="*/ 1 w 365"/>
                  <a:gd name="T15" fmla="*/ 241 h 283"/>
                  <a:gd name="T16" fmla="*/ 51 w 365"/>
                  <a:gd name="T17" fmla="*/ 283 h 283"/>
                  <a:gd name="T18" fmla="*/ 365 w 365"/>
                  <a:gd name="T19" fmla="*/ 283 h 283"/>
                  <a:gd name="T20" fmla="*/ 282 w 365"/>
                  <a:gd name="T21" fmla="*/ 234 h 283"/>
                  <a:gd name="T22" fmla="*/ 283 w 365"/>
                  <a:gd name="T23" fmla="*/ 227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5" h="283">
                    <a:moveTo>
                      <a:pt x="283" y="227"/>
                    </a:moveTo>
                    <a:cubicBezTo>
                      <a:pt x="283" y="101"/>
                      <a:pt x="181" y="0"/>
                      <a:pt x="56" y="0"/>
                    </a:cubicBezTo>
                    <a:cubicBezTo>
                      <a:pt x="36" y="0"/>
                      <a:pt x="18" y="2"/>
                      <a:pt x="0" y="7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3"/>
                      <a:pt x="0" y="235"/>
                      <a:pt x="0" y="236"/>
                    </a:cubicBezTo>
                    <a:cubicBezTo>
                      <a:pt x="0" y="236"/>
                      <a:pt x="0" y="237"/>
                      <a:pt x="0" y="237"/>
                    </a:cubicBezTo>
                    <a:cubicBezTo>
                      <a:pt x="0" y="238"/>
                      <a:pt x="0" y="239"/>
                      <a:pt x="0" y="241"/>
                    </a:cubicBezTo>
                    <a:cubicBezTo>
                      <a:pt x="1" y="241"/>
                      <a:pt x="1" y="241"/>
                      <a:pt x="1" y="241"/>
                    </a:cubicBezTo>
                    <a:cubicBezTo>
                      <a:pt x="5" y="265"/>
                      <a:pt x="26" y="283"/>
                      <a:pt x="51" y="283"/>
                    </a:cubicBezTo>
                    <a:cubicBezTo>
                      <a:pt x="365" y="283"/>
                      <a:pt x="365" y="283"/>
                      <a:pt x="365" y="283"/>
                    </a:cubicBezTo>
                    <a:cubicBezTo>
                      <a:pt x="343" y="261"/>
                      <a:pt x="314" y="244"/>
                      <a:pt x="282" y="234"/>
                    </a:cubicBezTo>
                    <a:cubicBezTo>
                      <a:pt x="282" y="232"/>
                      <a:pt x="283" y="229"/>
                      <a:pt x="283" y="2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9" name="Freeform 12">
                <a:extLst>
                  <a:ext uri="{FF2B5EF4-FFF2-40B4-BE49-F238E27FC236}">
                    <a16:creationId xmlns:a16="http://schemas.microsoft.com/office/drawing/2014/main" id="{10647AF0-C0CC-4A45-8A5F-B71B7A74B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-2528888"/>
                <a:ext cx="1270000" cy="858838"/>
              </a:xfrm>
              <a:custGeom>
                <a:avLst/>
                <a:gdLst>
                  <a:gd name="T0" fmla="*/ 364 w 364"/>
                  <a:gd name="T1" fmla="*/ 195 h 246"/>
                  <a:gd name="T2" fmla="*/ 364 w 364"/>
                  <a:gd name="T3" fmla="*/ 0 h 246"/>
                  <a:gd name="T4" fmla="*/ 307 w 364"/>
                  <a:gd name="T5" fmla="*/ 54 h 246"/>
                  <a:gd name="T6" fmla="*/ 232 w 364"/>
                  <a:gd name="T7" fmla="*/ 32 h 246"/>
                  <a:gd name="T8" fmla="*/ 94 w 364"/>
                  <a:gd name="T9" fmla="*/ 170 h 246"/>
                  <a:gd name="T10" fmla="*/ 96 w 364"/>
                  <a:gd name="T11" fmla="*/ 194 h 246"/>
                  <a:gd name="T12" fmla="*/ 0 w 364"/>
                  <a:gd name="T13" fmla="*/ 246 h 246"/>
                  <a:gd name="T14" fmla="*/ 313 w 364"/>
                  <a:gd name="T15" fmla="*/ 246 h 246"/>
                  <a:gd name="T16" fmla="*/ 364 w 364"/>
                  <a:gd name="T17" fmla="*/ 19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4" h="246">
                    <a:moveTo>
                      <a:pt x="364" y="195"/>
                    </a:moveTo>
                    <a:cubicBezTo>
                      <a:pt x="364" y="0"/>
                      <a:pt x="364" y="0"/>
                      <a:pt x="364" y="0"/>
                    </a:cubicBezTo>
                    <a:cubicBezTo>
                      <a:pt x="342" y="15"/>
                      <a:pt x="323" y="33"/>
                      <a:pt x="307" y="54"/>
                    </a:cubicBezTo>
                    <a:cubicBezTo>
                      <a:pt x="285" y="40"/>
                      <a:pt x="260" y="32"/>
                      <a:pt x="232" y="32"/>
                    </a:cubicBezTo>
                    <a:cubicBezTo>
                      <a:pt x="155" y="32"/>
                      <a:pt x="94" y="94"/>
                      <a:pt x="94" y="170"/>
                    </a:cubicBezTo>
                    <a:cubicBezTo>
                      <a:pt x="94" y="178"/>
                      <a:pt x="95" y="186"/>
                      <a:pt x="96" y="194"/>
                    </a:cubicBezTo>
                    <a:cubicBezTo>
                      <a:pt x="58" y="202"/>
                      <a:pt x="25" y="220"/>
                      <a:pt x="0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41" y="246"/>
                      <a:pt x="364" y="223"/>
                      <a:pt x="364" y="19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</p:grp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22114" y="3356441"/>
              <a:ext cx="975360" cy="11498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8815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7.17204E-7 L 2.20066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6791E-6 4.97049E-6 L 2.06791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22109E-6 1.54335E-7 L -2.22109E-6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2.5785E-6 4.12165E-6 L -2.5785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64" dur="5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4194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5113335" y="5402262"/>
            <a:ext cx="5448301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60227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mporting Feedback API into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327641927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0.1 Import Feedback API using Swa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3368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Import using </a:t>
            </a:r>
            <a:r>
              <a:rPr lang="en-US" dirty="0" err="1"/>
              <a:t>OpenAPI</a:t>
            </a:r>
            <a:r>
              <a:rPr lang="en-US" dirty="0"/>
              <a:t> specification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oint towards </a:t>
            </a:r>
            <a:r>
              <a:rPr lang="en-US" dirty="0">
                <a:hlinkClick r:id="rId2"/>
              </a:rPr>
              <a:t>https://[alias]feedbackapi.azurewebsites.net/swagger.json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ive the API a suffix, </a:t>
            </a:r>
            <a:r>
              <a:rPr lang="en-US" dirty="0" err="1"/>
              <a:t>e.g</a:t>
            </a:r>
            <a:r>
              <a:rPr lang="en-US" dirty="0"/>
              <a:t>: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crm</a:t>
            </a:r>
            <a:endParaRPr lang="en-US" dirty="0">
              <a:latin typeface="Segoe UI" charset="0"/>
              <a:ea typeface="Segoe UI" charset="0"/>
              <a:cs typeface="Segoe UI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>
                <a:ea typeface="Segoe UI" charset="0"/>
                <a:cs typeface="Segoe UI" charset="0"/>
              </a:rPr>
              <a:t>Wait for a few seconds, the interface should populat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ut the API i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produc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imported, change the Web Service URL to </a:t>
            </a:r>
            <a:r>
              <a:rPr lang="en-US" dirty="0">
                <a:hlinkClick r:id="rId2"/>
              </a:rPr>
              <a:t>https://[alias]feedbackapi.azurewebsites.net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est the API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2966174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3094038" y="1592262"/>
            <a:ext cx="762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181147" y="1743650"/>
            <a:ext cx="1256289" cy="129641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718137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4237037" y="1820862"/>
            <a:ext cx="40386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237037" y="3306761"/>
            <a:ext cx="5257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227637" y="4022725"/>
            <a:ext cx="762000" cy="23653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693191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770437" y="2963862"/>
            <a:ext cx="4800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999037" y="1439862"/>
            <a:ext cx="457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71397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456237" y="1439862"/>
            <a:ext cx="381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579937" y="2271896"/>
            <a:ext cx="14097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065837" y="6088062"/>
            <a:ext cx="685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104555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5989637" y="1973262"/>
            <a:ext cx="4724400" cy="411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62138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10.2 Obtain the subscription key for </a:t>
            </a:r>
            <a:r>
              <a:rPr lang="en-US" sz="4000"/>
              <a:t>Unlimited product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61945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o to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Developer Porta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lick on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Administrator -&gt; Profil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py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rimary key </a:t>
            </a:r>
            <a:r>
              <a:rPr lang="en-US" dirty="0"/>
              <a:t>of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subscription and keep it aside, you’ll use it in the subsequent steps.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  <a:p>
            <a:pPr marL="742950" indent="-742950">
              <a:buFont typeface="Arial" charset="0"/>
              <a:buChar char="•"/>
            </a:pP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37040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21" y="2153036"/>
            <a:ext cx="2356828" cy="2356828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916" y="2140337"/>
            <a:ext cx="2356828" cy="235682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1122" y="2140337"/>
            <a:ext cx="2356828" cy="2356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 Serv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481" y="1213175"/>
            <a:ext cx="11885514" cy="738559"/>
          </a:xfrm>
        </p:spPr>
        <p:txBody>
          <a:bodyPr/>
          <a:lstStyle/>
          <a:p>
            <a:r>
              <a:rPr lang="en-US" dirty="0"/>
              <a:t>From on-premises to the clou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1622" y="4737814"/>
            <a:ext cx="3824315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MULTI-TENANT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Get your Web, API, or Mobile App created in seconds in the cloud. We provide the infrastructure, you provide your application code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82916" y="4768982"/>
            <a:ext cx="3633408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 fontAlgn="base">
              <a:lnSpc>
                <a:spcPct val="90000"/>
              </a:lnSpc>
              <a:spcBef>
                <a:spcPct val="0"/>
              </a:spcBef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ISOLATED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Run your apps in virtual network at high scale. Manage all of the resources behind your public endpoint creating an isolated environment specifically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for your organization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11122" y="4737814"/>
            <a:ext cx="3349873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Leverage cloud innovations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in on-premises infrastructure. 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App Service on Azure Stack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brings the power of Azure App Service to your own data centers.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0562772" y="3841408"/>
            <a:ext cx="1101700" cy="922751"/>
            <a:chOff x="4619625" y="3367088"/>
            <a:chExt cx="665163" cy="425450"/>
          </a:xfrm>
        </p:grpSpPr>
        <p:sp>
          <p:nvSpPr>
            <p:cNvPr id="136" name="Rectangle 386"/>
            <p:cNvSpPr>
              <a:spLocks noChangeArrowheads="1"/>
            </p:cNvSpPr>
            <p:nvPr/>
          </p:nvSpPr>
          <p:spPr bwMode="auto">
            <a:xfrm>
              <a:off x="4619625" y="3367088"/>
              <a:ext cx="203200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7" name="Rectangle 387"/>
            <p:cNvSpPr>
              <a:spLocks noChangeArrowheads="1"/>
            </p:cNvSpPr>
            <p:nvPr/>
          </p:nvSpPr>
          <p:spPr bwMode="auto">
            <a:xfrm>
              <a:off x="4638675" y="3387725"/>
              <a:ext cx="166688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8" name="Rectangle 388"/>
            <p:cNvSpPr>
              <a:spLocks noChangeArrowheads="1"/>
            </p:cNvSpPr>
            <p:nvPr/>
          </p:nvSpPr>
          <p:spPr bwMode="auto">
            <a:xfrm>
              <a:off x="4648200" y="3400425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9" name="Rectangle 389"/>
            <p:cNvSpPr>
              <a:spLocks noChangeArrowheads="1"/>
            </p:cNvSpPr>
            <p:nvPr/>
          </p:nvSpPr>
          <p:spPr bwMode="auto">
            <a:xfrm>
              <a:off x="4654550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0" name="Rectangle 390"/>
            <p:cNvSpPr>
              <a:spLocks noChangeArrowheads="1"/>
            </p:cNvSpPr>
            <p:nvPr/>
          </p:nvSpPr>
          <p:spPr bwMode="auto">
            <a:xfrm>
              <a:off x="4664075" y="3403600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1" name="Rectangle 391"/>
            <p:cNvSpPr>
              <a:spLocks noChangeArrowheads="1"/>
            </p:cNvSpPr>
            <p:nvPr/>
          </p:nvSpPr>
          <p:spPr bwMode="auto">
            <a:xfrm>
              <a:off x="46704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2" name="Rectangle 392"/>
            <p:cNvSpPr>
              <a:spLocks noChangeArrowheads="1"/>
            </p:cNvSpPr>
            <p:nvPr/>
          </p:nvSpPr>
          <p:spPr bwMode="auto">
            <a:xfrm>
              <a:off x="4678363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3" name="Rectangle 393"/>
            <p:cNvSpPr>
              <a:spLocks noChangeArrowheads="1"/>
            </p:cNvSpPr>
            <p:nvPr/>
          </p:nvSpPr>
          <p:spPr bwMode="auto">
            <a:xfrm>
              <a:off x="4686300" y="3403600"/>
              <a:ext cx="6350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4" name="Rectangle 394"/>
            <p:cNvSpPr>
              <a:spLocks noChangeArrowheads="1"/>
            </p:cNvSpPr>
            <p:nvPr/>
          </p:nvSpPr>
          <p:spPr bwMode="auto">
            <a:xfrm>
              <a:off x="46958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5" name="Freeform 395"/>
            <p:cNvSpPr>
              <a:spLocks/>
            </p:cNvSpPr>
            <p:nvPr/>
          </p:nvSpPr>
          <p:spPr bwMode="auto">
            <a:xfrm>
              <a:off x="4772025" y="3413125"/>
              <a:ext cx="9525" cy="11113"/>
            </a:xfrm>
            <a:custGeom>
              <a:avLst/>
              <a:gdLst>
                <a:gd name="T0" fmla="*/ 0 w 12"/>
                <a:gd name="T1" fmla="*/ 7 h 15"/>
                <a:gd name="T2" fmla="*/ 0 w 12"/>
                <a:gd name="T3" fmla="*/ 7 h 15"/>
                <a:gd name="T4" fmla="*/ 2 w 12"/>
                <a:gd name="T5" fmla="*/ 2 h 15"/>
                <a:gd name="T6" fmla="*/ 7 w 12"/>
                <a:gd name="T7" fmla="*/ 0 h 15"/>
                <a:gd name="T8" fmla="*/ 7 w 12"/>
                <a:gd name="T9" fmla="*/ 0 h 15"/>
                <a:gd name="T10" fmla="*/ 11 w 12"/>
                <a:gd name="T11" fmla="*/ 2 h 15"/>
                <a:gd name="T12" fmla="*/ 12 w 12"/>
                <a:gd name="T13" fmla="*/ 7 h 15"/>
                <a:gd name="T14" fmla="*/ 12 w 12"/>
                <a:gd name="T15" fmla="*/ 7 h 15"/>
                <a:gd name="T16" fmla="*/ 11 w 12"/>
                <a:gd name="T17" fmla="*/ 13 h 15"/>
                <a:gd name="T18" fmla="*/ 7 w 12"/>
                <a:gd name="T19" fmla="*/ 15 h 15"/>
                <a:gd name="T20" fmla="*/ 7 w 12"/>
                <a:gd name="T21" fmla="*/ 15 h 15"/>
                <a:gd name="T22" fmla="*/ 2 w 12"/>
                <a:gd name="T23" fmla="*/ 13 h 15"/>
                <a:gd name="T24" fmla="*/ 0 w 12"/>
                <a:gd name="T25" fmla="*/ 7 h 15"/>
                <a:gd name="T26" fmla="*/ 0 w 12"/>
                <a:gd name="T2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5">
                  <a:moveTo>
                    <a:pt x="0" y="7"/>
                  </a:move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2" y="13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6" name="Rectangle 396"/>
            <p:cNvSpPr>
              <a:spLocks noChangeArrowheads="1"/>
            </p:cNvSpPr>
            <p:nvPr/>
          </p:nvSpPr>
          <p:spPr bwMode="auto">
            <a:xfrm>
              <a:off x="4648200" y="3444875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7" name="Rectangle 397"/>
            <p:cNvSpPr>
              <a:spLocks noChangeArrowheads="1"/>
            </p:cNvSpPr>
            <p:nvPr/>
          </p:nvSpPr>
          <p:spPr bwMode="auto">
            <a:xfrm>
              <a:off x="4654550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8" name="Rectangle 398"/>
            <p:cNvSpPr>
              <a:spLocks noChangeArrowheads="1"/>
            </p:cNvSpPr>
            <p:nvPr/>
          </p:nvSpPr>
          <p:spPr bwMode="auto">
            <a:xfrm>
              <a:off x="4664075" y="3451225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9" name="Rectangle 399"/>
            <p:cNvSpPr>
              <a:spLocks noChangeArrowheads="1"/>
            </p:cNvSpPr>
            <p:nvPr/>
          </p:nvSpPr>
          <p:spPr bwMode="auto">
            <a:xfrm>
              <a:off x="46704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0" name="Rectangle 400"/>
            <p:cNvSpPr>
              <a:spLocks noChangeArrowheads="1"/>
            </p:cNvSpPr>
            <p:nvPr/>
          </p:nvSpPr>
          <p:spPr bwMode="auto">
            <a:xfrm>
              <a:off x="4678363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1" name="Rectangle 401"/>
            <p:cNvSpPr>
              <a:spLocks noChangeArrowheads="1"/>
            </p:cNvSpPr>
            <p:nvPr/>
          </p:nvSpPr>
          <p:spPr bwMode="auto">
            <a:xfrm>
              <a:off x="4686300" y="3451225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2" name="Rectangle 402"/>
            <p:cNvSpPr>
              <a:spLocks noChangeArrowheads="1"/>
            </p:cNvSpPr>
            <p:nvPr/>
          </p:nvSpPr>
          <p:spPr bwMode="auto">
            <a:xfrm>
              <a:off x="46958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3" name="Freeform 403"/>
            <p:cNvSpPr>
              <a:spLocks/>
            </p:cNvSpPr>
            <p:nvPr/>
          </p:nvSpPr>
          <p:spPr bwMode="auto">
            <a:xfrm>
              <a:off x="4772025" y="3460750"/>
              <a:ext cx="9525" cy="9525"/>
            </a:xfrm>
            <a:custGeom>
              <a:avLst/>
              <a:gdLst>
                <a:gd name="T0" fmla="*/ 0 w 12"/>
                <a:gd name="T1" fmla="*/ 6 h 11"/>
                <a:gd name="T2" fmla="*/ 0 w 12"/>
                <a:gd name="T3" fmla="*/ 6 h 11"/>
                <a:gd name="T4" fmla="*/ 2 w 12"/>
                <a:gd name="T5" fmla="*/ 2 h 11"/>
                <a:gd name="T6" fmla="*/ 7 w 12"/>
                <a:gd name="T7" fmla="*/ 0 h 11"/>
                <a:gd name="T8" fmla="*/ 7 w 12"/>
                <a:gd name="T9" fmla="*/ 0 h 11"/>
                <a:gd name="T10" fmla="*/ 11 w 12"/>
                <a:gd name="T11" fmla="*/ 2 h 11"/>
                <a:gd name="T12" fmla="*/ 12 w 12"/>
                <a:gd name="T13" fmla="*/ 6 h 11"/>
                <a:gd name="T14" fmla="*/ 12 w 12"/>
                <a:gd name="T15" fmla="*/ 6 h 11"/>
                <a:gd name="T16" fmla="*/ 11 w 12"/>
                <a:gd name="T17" fmla="*/ 9 h 11"/>
                <a:gd name="T18" fmla="*/ 7 w 12"/>
                <a:gd name="T19" fmla="*/ 11 h 11"/>
                <a:gd name="T20" fmla="*/ 7 w 12"/>
                <a:gd name="T21" fmla="*/ 11 h 11"/>
                <a:gd name="T22" fmla="*/ 2 w 12"/>
                <a:gd name="T23" fmla="*/ 9 h 11"/>
                <a:gd name="T24" fmla="*/ 0 w 12"/>
                <a:gd name="T25" fmla="*/ 6 h 11"/>
                <a:gd name="T26" fmla="*/ 0 w 12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4" name="Rectangle 404"/>
            <p:cNvSpPr>
              <a:spLocks noChangeArrowheads="1"/>
            </p:cNvSpPr>
            <p:nvPr/>
          </p:nvSpPr>
          <p:spPr bwMode="auto">
            <a:xfrm>
              <a:off x="4648200" y="3495675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5" name="Rectangle 405"/>
            <p:cNvSpPr>
              <a:spLocks noChangeArrowheads="1"/>
            </p:cNvSpPr>
            <p:nvPr/>
          </p:nvSpPr>
          <p:spPr bwMode="auto">
            <a:xfrm>
              <a:off x="465455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156" name="Group 607"/>
            <p:cNvGrpSpPr>
              <a:grpSpLocks/>
            </p:cNvGrpSpPr>
            <p:nvPr/>
          </p:nvGrpSpPr>
          <p:grpSpPr bwMode="auto">
            <a:xfrm>
              <a:off x="4619625" y="3367088"/>
              <a:ext cx="434975" cy="425450"/>
              <a:chOff x="2949" y="1886"/>
              <a:chExt cx="274" cy="268"/>
            </a:xfrm>
          </p:grpSpPr>
          <p:sp>
            <p:nvSpPr>
              <p:cNvPr id="285" name="Rectangle 407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6" name="Rectangle 408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7" name="Rectangle 409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8" name="Rectangle 410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9" name="Rectangle 411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0" name="Freeform 412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1" name="Rectangle 413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2" name="Rectangle 414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3" name="Rectangle 415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4" name="Rectangle 416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5" name="Rectangle 417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6" name="Rectangle 418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7" name="Rectangle 419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8" name="Freeform 420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9" name="Rectangle 421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0" name="Rectangle 422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1" name="Rectangle 423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2" name="Rectangle 424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3" name="Rectangle 425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4" name="Rectangle 426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5" name="Rectangle 427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6" name="Freeform 428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7" name="Rectangle 429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8" name="Rectangle 430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9" name="Rectangle 431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0" name="Rectangle 432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1" name="Rectangle 433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2" name="Rectangle 434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3" name="Rectangle 435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4" name="Freeform 436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5" name="Rectangle 437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6" name="Rectangle 438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7" name="Rectangle 439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8" name="Rectangle 440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9" name="Rectangle 441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0" name="Rectangle 442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1" name="Rectangle 443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2" name="Freeform 444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3" name="Rectangle 445"/>
              <p:cNvSpPr>
                <a:spLocks noChangeArrowheads="1"/>
              </p:cNvSpPr>
              <p:nvPr/>
            </p:nvSpPr>
            <p:spPr bwMode="auto">
              <a:xfrm>
                <a:off x="2949" y="1886"/>
                <a:ext cx="128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4" name="Rectangle 446"/>
              <p:cNvSpPr>
                <a:spLocks noChangeArrowheads="1"/>
              </p:cNvSpPr>
              <p:nvPr/>
            </p:nvSpPr>
            <p:spPr bwMode="auto">
              <a:xfrm>
                <a:off x="2961" y="1899"/>
                <a:ext cx="105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5" name="Rectangle 447"/>
              <p:cNvSpPr>
                <a:spLocks noChangeArrowheads="1"/>
              </p:cNvSpPr>
              <p:nvPr/>
            </p:nvSpPr>
            <p:spPr bwMode="auto">
              <a:xfrm>
                <a:off x="2967" y="1907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6" name="Rectangle 448"/>
              <p:cNvSpPr>
                <a:spLocks noChangeArrowheads="1"/>
              </p:cNvSpPr>
              <p:nvPr/>
            </p:nvSpPr>
            <p:spPr bwMode="auto">
              <a:xfrm>
                <a:off x="297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7" name="Rectangle 449"/>
              <p:cNvSpPr>
                <a:spLocks noChangeArrowheads="1"/>
              </p:cNvSpPr>
              <p:nvPr/>
            </p:nvSpPr>
            <p:spPr bwMode="auto">
              <a:xfrm>
                <a:off x="297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8" name="Rectangle 450"/>
              <p:cNvSpPr>
                <a:spLocks noChangeArrowheads="1"/>
              </p:cNvSpPr>
              <p:nvPr/>
            </p:nvSpPr>
            <p:spPr bwMode="auto">
              <a:xfrm>
                <a:off x="298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9" name="Rectangle 451"/>
              <p:cNvSpPr>
                <a:spLocks noChangeArrowheads="1"/>
              </p:cNvSpPr>
              <p:nvPr/>
            </p:nvSpPr>
            <p:spPr bwMode="auto">
              <a:xfrm>
                <a:off x="298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0" name="Rectangle 452"/>
              <p:cNvSpPr>
                <a:spLocks noChangeArrowheads="1"/>
              </p:cNvSpPr>
              <p:nvPr/>
            </p:nvSpPr>
            <p:spPr bwMode="auto">
              <a:xfrm>
                <a:off x="299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1" name="Rectangle 453"/>
              <p:cNvSpPr>
                <a:spLocks noChangeArrowheads="1"/>
              </p:cNvSpPr>
              <p:nvPr/>
            </p:nvSpPr>
            <p:spPr bwMode="auto">
              <a:xfrm>
                <a:off x="2997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2" name="Freeform 454"/>
              <p:cNvSpPr>
                <a:spLocks/>
              </p:cNvSpPr>
              <p:nvPr/>
            </p:nvSpPr>
            <p:spPr bwMode="auto">
              <a:xfrm>
                <a:off x="3045" y="1915"/>
                <a:ext cx="6" cy="7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3" name="Rectangle 455"/>
              <p:cNvSpPr>
                <a:spLocks noChangeArrowheads="1"/>
              </p:cNvSpPr>
              <p:nvPr/>
            </p:nvSpPr>
            <p:spPr bwMode="auto">
              <a:xfrm>
                <a:off x="2967" y="1935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4" name="Rectangle 456"/>
              <p:cNvSpPr>
                <a:spLocks noChangeArrowheads="1"/>
              </p:cNvSpPr>
              <p:nvPr/>
            </p:nvSpPr>
            <p:spPr bwMode="auto">
              <a:xfrm>
                <a:off x="297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5" name="Rectangle 457"/>
              <p:cNvSpPr>
                <a:spLocks noChangeArrowheads="1"/>
              </p:cNvSpPr>
              <p:nvPr/>
            </p:nvSpPr>
            <p:spPr bwMode="auto">
              <a:xfrm>
                <a:off x="297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6" name="Rectangle 458"/>
              <p:cNvSpPr>
                <a:spLocks noChangeArrowheads="1"/>
              </p:cNvSpPr>
              <p:nvPr/>
            </p:nvSpPr>
            <p:spPr bwMode="auto">
              <a:xfrm>
                <a:off x="298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7" name="Rectangle 459"/>
              <p:cNvSpPr>
                <a:spLocks noChangeArrowheads="1"/>
              </p:cNvSpPr>
              <p:nvPr/>
            </p:nvSpPr>
            <p:spPr bwMode="auto">
              <a:xfrm>
                <a:off x="298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8" name="Rectangle 460"/>
              <p:cNvSpPr>
                <a:spLocks noChangeArrowheads="1"/>
              </p:cNvSpPr>
              <p:nvPr/>
            </p:nvSpPr>
            <p:spPr bwMode="auto">
              <a:xfrm>
                <a:off x="299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9" name="Rectangle 461"/>
              <p:cNvSpPr>
                <a:spLocks noChangeArrowheads="1"/>
              </p:cNvSpPr>
              <p:nvPr/>
            </p:nvSpPr>
            <p:spPr bwMode="auto">
              <a:xfrm>
                <a:off x="2997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0" name="Freeform 462"/>
              <p:cNvSpPr>
                <a:spLocks/>
              </p:cNvSpPr>
              <p:nvPr/>
            </p:nvSpPr>
            <p:spPr bwMode="auto">
              <a:xfrm>
                <a:off x="3045" y="1945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1" name="Rectangle 463"/>
              <p:cNvSpPr>
                <a:spLocks noChangeArrowheads="1"/>
              </p:cNvSpPr>
              <p:nvPr/>
            </p:nvSpPr>
            <p:spPr bwMode="auto">
              <a:xfrm>
                <a:off x="2967" y="196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2" name="Rectangle 464"/>
              <p:cNvSpPr>
                <a:spLocks noChangeArrowheads="1"/>
              </p:cNvSpPr>
              <p:nvPr/>
            </p:nvSpPr>
            <p:spPr bwMode="auto">
              <a:xfrm>
                <a:off x="297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3" name="Rectangle 465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4" name="Rectangle 466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5" name="Rectangle 467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6" name="Rectangle 468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7" name="Rectangle 469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8" name="Freeform 470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9" name="Rectangle 471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0" name="Rectangle 472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1" name="Rectangle 473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2" name="Rectangle 474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3" name="Rectangle 475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4" name="Rectangle 476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5" name="Rectangle 477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6" name="Freeform 478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7" name="Rectangle 479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8" name="Rectangle 480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9" name="Rectangle 481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0" name="Rectangle 482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1" name="Rectangle 483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2" name="Rectangle 484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3" name="Rectangle 485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4" name="Freeform 486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5" name="Rectangle 487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6" name="Rectangle 488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7" name="Rectangle 489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8" name="Rectangle 490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9" name="Rectangle 491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0" name="Rectangle 492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1" name="Rectangle 493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2" name="Freeform 494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3" name="Rectangle 495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4" name="Rectangle 496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5" name="Rectangle 497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6" name="Rectangle 498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7" name="Rectangle 499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8" name="Rectangle 500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9" name="Rectangle 501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0" name="Freeform 502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1" name="Rectangle 503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2" name="Rectangle 504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3" name="Rectangle 505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4" name="Rectangle 506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5" name="Rectangle 507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6" name="Rectangle 508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7" name="Rectangle 509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8" name="Rectangle 510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9" name="Rectangle 511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0" name="Freeform 512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1" name="Rectangle 513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2" name="Rectangle 514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3" name="Rectangle 515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4" name="Rectangle 516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5" name="Rectangle 517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6" name="Rectangle 518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7" name="Rectangle 519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8" name="Freeform 520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9" name="Rectangle 521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0" name="Rectangle 522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1" name="Rectangle 523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2" name="Rectangle 524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3" name="Rectangle 525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4" name="Rectangle 526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5" name="Rectangle 527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6" name="Freeform 528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7" name="Rectangle 529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8" name="Rectangle 530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9" name="Rectangle 531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0" name="Rectangle 532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1" name="Rectangle 533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2" name="Rectangle 534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3" name="Rectangle 535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4" name="Freeform 536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5" name="Rectangle 537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6" name="Rectangle 538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7" name="Rectangle 539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8" name="Rectangle 540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9" name="Rectangle 541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0" name="Rectangle 542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1" name="Rectangle 543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2" name="Freeform 544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3" name="Rectangle 545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4" name="Rectangle 546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5" name="Rectangle 547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6" name="Rectangle 548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7" name="Rectangle 549"/>
              <p:cNvSpPr>
                <a:spLocks noChangeArrowheads="1"/>
              </p:cNvSpPr>
              <p:nvPr/>
            </p:nvSpPr>
            <p:spPr bwMode="auto">
              <a:xfrm>
                <a:off x="313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8" name="Rectangle 550"/>
              <p:cNvSpPr>
                <a:spLocks noChangeArrowheads="1"/>
              </p:cNvSpPr>
              <p:nvPr/>
            </p:nvSpPr>
            <p:spPr bwMode="auto">
              <a:xfrm>
                <a:off x="3136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9" name="Rectangle 551"/>
              <p:cNvSpPr>
                <a:spLocks noChangeArrowheads="1"/>
              </p:cNvSpPr>
              <p:nvPr/>
            </p:nvSpPr>
            <p:spPr bwMode="auto">
              <a:xfrm>
                <a:off x="314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0" name="Freeform 552"/>
              <p:cNvSpPr>
                <a:spLocks/>
              </p:cNvSpPr>
              <p:nvPr/>
            </p:nvSpPr>
            <p:spPr bwMode="auto">
              <a:xfrm>
                <a:off x="3190" y="2066"/>
                <a:ext cx="6" cy="6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1" name="Rectangle 553"/>
              <p:cNvSpPr>
                <a:spLocks noChangeArrowheads="1"/>
              </p:cNvSpPr>
              <p:nvPr/>
            </p:nvSpPr>
            <p:spPr bwMode="auto">
              <a:xfrm>
                <a:off x="3112" y="208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2" name="Rectangle 554"/>
              <p:cNvSpPr>
                <a:spLocks noChangeArrowheads="1"/>
              </p:cNvSpPr>
              <p:nvPr/>
            </p:nvSpPr>
            <p:spPr bwMode="auto">
              <a:xfrm>
                <a:off x="311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3" name="Rectangle 555"/>
              <p:cNvSpPr>
                <a:spLocks noChangeArrowheads="1"/>
              </p:cNvSpPr>
              <p:nvPr/>
            </p:nvSpPr>
            <p:spPr bwMode="auto">
              <a:xfrm>
                <a:off x="312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4" name="Rectangle 556"/>
              <p:cNvSpPr>
                <a:spLocks noChangeArrowheads="1"/>
              </p:cNvSpPr>
              <p:nvPr/>
            </p:nvSpPr>
            <p:spPr bwMode="auto">
              <a:xfrm>
                <a:off x="312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5" name="Rectangle 557"/>
              <p:cNvSpPr>
                <a:spLocks noChangeArrowheads="1"/>
              </p:cNvSpPr>
              <p:nvPr/>
            </p:nvSpPr>
            <p:spPr bwMode="auto">
              <a:xfrm>
                <a:off x="313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6" name="Rectangle 558"/>
              <p:cNvSpPr>
                <a:spLocks noChangeArrowheads="1"/>
              </p:cNvSpPr>
              <p:nvPr/>
            </p:nvSpPr>
            <p:spPr bwMode="auto">
              <a:xfrm>
                <a:off x="3136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7" name="Rectangle 559"/>
              <p:cNvSpPr>
                <a:spLocks noChangeArrowheads="1"/>
              </p:cNvSpPr>
              <p:nvPr/>
            </p:nvSpPr>
            <p:spPr bwMode="auto">
              <a:xfrm>
                <a:off x="314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8" name="Freeform 560"/>
              <p:cNvSpPr>
                <a:spLocks/>
              </p:cNvSpPr>
              <p:nvPr/>
            </p:nvSpPr>
            <p:spPr bwMode="auto">
              <a:xfrm>
                <a:off x="3190" y="2096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9" name="Rectangle 561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0" name="Rectangle 562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1" name="Rectangle 563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2" name="Rectangle 564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3" name="Rectangle 565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4" name="Rectangle 566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5" name="Rectangle 567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6" name="Rectangle 568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7" name="Rectangle 569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8" name="Freeform 570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9" name="Rectangle 571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0" name="Rectangle 572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1" name="Rectangle 573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2" name="Rectangle 574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3" name="Rectangle 575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4" name="Rectangle 576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5" name="Rectangle 577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6" name="Freeform 578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7" name="Rectangle 579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8" name="Rectangle 580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9" name="Rectangle 581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0" name="Rectangle 582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1" name="Rectangle 583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2" name="Rectangle 584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3" name="Rectangle 585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4" name="Freeform 586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5" name="Rectangle 587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6" name="Rectangle 588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7" name="Rectangle 589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8" name="Rectangle 590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9" name="Rectangle 591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0" name="Rectangle 592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1" name="Rectangle 593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2" name="Freeform 594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3" name="Rectangle 595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4" name="Rectangle 596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5" name="Rectangle 597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6" name="Rectangle 598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7" name="Rectangle 599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8" name="Rectangle 600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9" name="Rectangle 601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0" name="Freeform 602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1" name="Rectangle 603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2" name="Rectangle 604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3" name="Rectangle 605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4" name="Rectangle 606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sp>
          <p:nvSpPr>
            <p:cNvPr id="157" name="Rectangle 608"/>
            <p:cNvSpPr>
              <a:spLocks noChangeArrowheads="1"/>
            </p:cNvSpPr>
            <p:nvPr/>
          </p:nvSpPr>
          <p:spPr bwMode="auto">
            <a:xfrm>
              <a:off x="490855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8" name="Rectangle 609"/>
            <p:cNvSpPr>
              <a:spLocks noChangeArrowheads="1"/>
            </p:cNvSpPr>
            <p:nvPr/>
          </p:nvSpPr>
          <p:spPr bwMode="auto">
            <a:xfrm>
              <a:off x="4916487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9" name="Rectangle 610"/>
            <p:cNvSpPr>
              <a:spLocks noChangeArrowheads="1"/>
            </p:cNvSpPr>
            <p:nvPr/>
          </p:nvSpPr>
          <p:spPr bwMode="auto">
            <a:xfrm>
              <a:off x="4924425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0" name="Freeform 611"/>
            <p:cNvSpPr>
              <a:spLocks/>
            </p:cNvSpPr>
            <p:nvPr/>
          </p:nvSpPr>
          <p:spPr bwMode="auto">
            <a:xfrm>
              <a:off x="5002212" y="3652838"/>
              <a:ext cx="9525" cy="9525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2 h 13"/>
                <a:gd name="T6" fmla="*/ 5 w 11"/>
                <a:gd name="T7" fmla="*/ 0 h 13"/>
                <a:gd name="T8" fmla="*/ 5 w 11"/>
                <a:gd name="T9" fmla="*/ 0 h 13"/>
                <a:gd name="T10" fmla="*/ 9 w 11"/>
                <a:gd name="T11" fmla="*/ 2 h 13"/>
                <a:gd name="T12" fmla="*/ 11 w 11"/>
                <a:gd name="T13" fmla="*/ 6 h 13"/>
                <a:gd name="T14" fmla="*/ 11 w 11"/>
                <a:gd name="T15" fmla="*/ 6 h 13"/>
                <a:gd name="T16" fmla="*/ 9 w 11"/>
                <a:gd name="T17" fmla="*/ 11 h 13"/>
                <a:gd name="T18" fmla="*/ 5 w 11"/>
                <a:gd name="T19" fmla="*/ 13 h 13"/>
                <a:gd name="T20" fmla="*/ 5 w 11"/>
                <a:gd name="T21" fmla="*/ 13 h 13"/>
                <a:gd name="T22" fmla="*/ 2 w 11"/>
                <a:gd name="T23" fmla="*/ 11 h 13"/>
                <a:gd name="T24" fmla="*/ 0 w 11"/>
                <a:gd name="T25" fmla="*/ 6 h 13"/>
                <a:gd name="T26" fmla="*/ 0 w 11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1" name="Rectangle 612"/>
            <p:cNvSpPr>
              <a:spLocks noChangeArrowheads="1"/>
            </p:cNvSpPr>
            <p:nvPr/>
          </p:nvSpPr>
          <p:spPr bwMode="auto">
            <a:xfrm>
              <a:off x="4878387" y="3686176"/>
              <a:ext cx="146050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2" name="Rectangle 613"/>
            <p:cNvSpPr>
              <a:spLocks noChangeArrowheads="1"/>
            </p:cNvSpPr>
            <p:nvPr/>
          </p:nvSpPr>
          <p:spPr bwMode="auto">
            <a:xfrm>
              <a:off x="4884737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3" name="Rectangle 614"/>
            <p:cNvSpPr>
              <a:spLocks noChangeArrowheads="1"/>
            </p:cNvSpPr>
            <p:nvPr/>
          </p:nvSpPr>
          <p:spPr bwMode="auto">
            <a:xfrm>
              <a:off x="4892675" y="3692526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4" name="Rectangle 615"/>
            <p:cNvSpPr>
              <a:spLocks noChangeArrowheads="1"/>
            </p:cNvSpPr>
            <p:nvPr/>
          </p:nvSpPr>
          <p:spPr bwMode="auto">
            <a:xfrm>
              <a:off x="4902200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5" name="Rectangle 616"/>
            <p:cNvSpPr>
              <a:spLocks noChangeArrowheads="1"/>
            </p:cNvSpPr>
            <p:nvPr/>
          </p:nvSpPr>
          <p:spPr bwMode="auto">
            <a:xfrm>
              <a:off x="490855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6" name="Rectangle 617"/>
            <p:cNvSpPr>
              <a:spLocks noChangeArrowheads="1"/>
            </p:cNvSpPr>
            <p:nvPr/>
          </p:nvSpPr>
          <p:spPr bwMode="auto">
            <a:xfrm>
              <a:off x="4916487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7" name="Rectangle 618"/>
            <p:cNvSpPr>
              <a:spLocks noChangeArrowheads="1"/>
            </p:cNvSpPr>
            <p:nvPr/>
          </p:nvSpPr>
          <p:spPr bwMode="auto">
            <a:xfrm>
              <a:off x="4924425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8" name="Freeform 619"/>
            <p:cNvSpPr>
              <a:spLocks/>
            </p:cNvSpPr>
            <p:nvPr/>
          </p:nvSpPr>
          <p:spPr bwMode="auto">
            <a:xfrm>
              <a:off x="5002212" y="3700463"/>
              <a:ext cx="9525" cy="9525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6 h 11"/>
                <a:gd name="T4" fmla="*/ 2 w 11"/>
                <a:gd name="T5" fmla="*/ 2 h 11"/>
                <a:gd name="T6" fmla="*/ 5 w 11"/>
                <a:gd name="T7" fmla="*/ 0 h 11"/>
                <a:gd name="T8" fmla="*/ 5 w 11"/>
                <a:gd name="T9" fmla="*/ 0 h 11"/>
                <a:gd name="T10" fmla="*/ 9 w 11"/>
                <a:gd name="T11" fmla="*/ 2 h 11"/>
                <a:gd name="T12" fmla="*/ 11 w 11"/>
                <a:gd name="T13" fmla="*/ 6 h 11"/>
                <a:gd name="T14" fmla="*/ 11 w 11"/>
                <a:gd name="T15" fmla="*/ 6 h 11"/>
                <a:gd name="T16" fmla="*/ 9 w 11"/>
                <a:gd name="T17" fmla="*/ 9 h 11"/>
                <a:gd name="T18" fmla="*/ 5 w 11"/>
                <a:gd name="T19" fmla="*/ 11 h 11"/>
                <a:gd name="T20" fmla="*/ 5 w 11"/>
                <a:gd name="T21" fmla="*/ 11 h 11"/>
                <a:gd name="T22" fmla="*/ 2 w 11"/>
                <a:gd name="T23" fmla="*/ 9 h 11"/>
                <a:gd name="T24" fmla="*/ 0 w 11"/>
                <a:gd name="T25" fmla="*/ 6 h 11"/>
                <a:gd name="T26" fmla="*/ 0 w 11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9" name="Rectangle 620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0" name="Rectangle 621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1" name="Rectangle 622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2" name="Rectangle 623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3" name="Rectangle 624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4" name="Rectangle 625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5" name="Rectangle 626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6" name="Rectangle 627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7" name="Rectangle 628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8" name="Freeform 629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9" name="Rectangle 630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0" name="Rectangle 631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1" name="Rectangle 632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2" name="Rectangle 633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3" name="Rectangle 634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4" name="Rectangle 635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5" name="Rectangle 636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6" name="Freeform 637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7" name="Rectangle 638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8" name="Rectangle 639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9" name="Rectangle 640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0" name="Rectangle 641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1" name="Rectangle 642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2" name="Rectangle 643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3" name="Rectangle 644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4" name="Freeform 645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5" name="Rectangle 646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6" name="Rectangle 647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7" name="Rectangle 648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8" name="Rectangle 649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9" name="Rectangle 650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0" name="Rectangle 651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1" name="Rectangle 652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2" name="Freeform 653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3" name="Rectangle 654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4" name="Rectangle 655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5" name="Rectangle 656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6" name="Rectangle 657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7" name="Rectangle 658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8" name="Rectangle 659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9" name="Rectangle 660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0" name="Freeform 661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1" name="Rectangle 662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2" name="Rectangle 663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3" name="Rectangle 664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4" name="Rectangle 665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5" name="Rectangle 666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6" name="Rectangle 667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7" name="Rectangle 668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8" name="Freeform 669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9" name="Rectangle 670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0" name="Rectangle 671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1" name="Rectangle 672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2" name="Rectangle 673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3" name="Rectangle 674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4" name="Rectangle 675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5" name="Rectangle 676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6" name="Freeform 677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7" name="Rectangle 678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8" name="Rectangle 679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9" name="Rectangle 680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0" name="Rectangle 681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1" name="Rectangle 682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2" name="Rectangle 683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3" name="Rectangle 684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4" name="Rectangle 685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5" name="Rectangle 686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6" name="Freeform 687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7" name="Rectangle 688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8" name="Rectangle 689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9" name="Rectangle 690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0" name="Rectangle 691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1" name="Rectangle 692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2" name="Rectangle 693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3" name="Rectangle 694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4" name="Freeform 695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5" name="Rectangle 696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6" name="Rectangle 697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7" name="Rectangle 698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8" name="Rectangle 699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9" name="Rectangle 700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0" name="Rectangle 701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1" name="Rectangle 702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2" name="Freeform 703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3" name="Rectangle 704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4" name="Rectangle 705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5" name="Rectangle 706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6" name="Rectangle 707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7" name="Rectangle 708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8" name="Rectangle 709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9" name="Rectangle 710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0" name="Freeform 711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1" name="Rectangle 712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2" name="Rectangle 713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3" name="Rectangle 714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4" name="Rectangle 715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5" name="Rectangle 716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6" name="Rectangle 717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7" name="Rectangle 718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8" name="Freeform 719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9" name="Rectangle 720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0" name="Rectangle 721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1" name="Rectangle 722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2" name="Rectangle 723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3" name="Rectangle 724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4" name="Rectangle 725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5" name="Rectangle 726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6" name="Freeform 727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7" name="Rectangle 728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8" name="Rectangle 729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9" name="Rectangle 730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0" name="Rectangle 731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1" name="Rectangle 732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2" name="Rectangle 733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3" name="Rectangle 734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4" name="Freeform 735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3034721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932237" y="1058862"/>
            <a:ext cx="838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11211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9494837" y="1211262"/>
            <a:ext cx="1066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571037" y="1744662"/>
            <a:ext cx="6096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701913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475037" y="4411662"/>
            <a:ext cx="1981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99882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Lunch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486399" cy="2677656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2:30 PM</a:t>
            </a:r>
            <a:br>
              <a:rPr lang="en-US" sz="4800" dirty="0"/>
            </a:br>
            <a:r>
              <a:rPr lang="en-US" sz="4400" dirty="0"/>
              <a:t>with the the integration workflow using</a:t>
            </a:r>
            <a:br>
              <a:rPr lang="en-US" sz="4400" dirty="0"/>
            </a:br>
            <a:r>
              <a:rPr lang="en-US" sz="4400" dirty="0"/>
              <a:t>Logic Apps</a:t>
            </a:r>
            <a:endParaRPr lang="en-US" sz="4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D2A433-5BEE-574D-92E5-7DED4AB2C5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3000"/>
                    </a14:imgEffect>
                    <a14:imgEffect>
                      <a14:colorTemperature colorTemp="4058"/>
                    </a14:imgEffect>
                    <a14:imgEffect>
                      <a14:saturation sat="218000"/>
                    </a14:imgEffect>
                    <a14:imgEffect>
                      <a14:brightnessContrast bright="18000" contras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042907" y="422632"/>
            <a:ext cx="7693976" cy="57704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68CAF5-6FB5-EF49-BD96-C1C5A8A6CD70}"/>
              </a:ext>
            </a:extLst>
          </p:cNvPr>
          <p:cNvSpPr/>
          <p:nvPr/>
        </p:nvSpPr>
        <p:spPr>
          <a:xfrm>
            <a:off x="1733547" y="6469062"/>
            <a:ext cx="49825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(* I don’t think we’re having Sushi for lunch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2A3EB-2BDB-3346-A083-9139C80CC3DF}"/>
              </a:ext>
            </a:extLst>
          </p:cNvPr>
          <p:cNvSpPr/>
          <p:nvPr/>
        </p:nvSpPr>
        <p:spPr>
          <a:xfrm>
            <a:off x="11401808" y="-242729"/>
            <a:ext cx="912429" cy="2215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800" dirty="0">
                <a:solidFill>
                  <a:srgbClr val="FF0000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622563480"/>
      </p:ext>
    </p:extLst>
  </p:cSld>
  <p:clrMapOvr>
    <a:masterClrMapping/>
  </p:clrMapOvr>
  <p:transition>
    <p:fad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408627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ntegrating the solution using Logic Apps</a:t>
            </a:r>
          </a:p>
        </p:txBody>
      </p:sp>
    </p:spTree>
    <p:extLst>
      <p:ext uri="{BB962C8B-B14F-4D97-AF65-F5344CB8AC3E}">
        <p14:creationId xmlns:p14="http://schemas.microsoft.com/office/powerpoint/2010/main" val="2009015908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Full Logic App diagram</a:t>
            </a:r>
            <a:b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i="1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You’ll build it step by step</a:t>
            </a:r>
            <a:endParaRPr i="1" dirty="0"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9987995"/>
      </p:ext>
    </p:extLst>
  </p:cSld>
  <p:clrMapOvr>
    <a:masterClrMapping/>
  </p:clrMapOvr>
  <p:transition>
    <p:fad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1. Create Logic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logic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</p:txBody>
      </p:sp>
    </p:spTree>
    <p:extLst>
      <p:ext uri="{BB962C8B-B14F-4D97-AF65-F5344CB8AC3E}">
        <p14:creationId xmlns:p14="http://schemas.microsoft.com/office/powerpoint/2010/main" val="446270047"/>
      </p:ext>
    </p:extLst>
  </p:cSld>
  <p:clrMapOvr>
    <a:masterClrMapping/>
  </p:clrMapOvr>
  <p:transition>
    <p:fad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1058862"/>
            <a:ext cx="1981200" cy="2667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910845"/>
      </p:ext>
    </p:extLst>
  </p:cSld>
  <p:clrMapOvr>
    <a:masterClrMapping/>
  </p:clrMapOvr>
  <p:transition>
    <p:fad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1 Create the workfl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Open the Logic Apps Design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tart from a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Blank Logic App </a:t>
            </a:r>
            <a:r>
              <a:rPr lang="en-US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7665263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AF574AC0-5464-4A71-BEA8-6A4D93F7C125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51623932-34EC-4DF2-95A3-61774F27F218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, lime, gol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BAD80A"/>
      </a:accent4>
      <a:accent5>
        <a:srgbClr val="FF8C00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7B85CFD7-3FA9-4FB2-9931-05103B613D6F}"/>
    </a:ext>
  </a:extLst>
</a:theme>
</file>

<file path=ppt/theme/theme4.xml><?xml version="1.0" encoding="utf-8"?>
<a:theme xmlns:a="http://schemas.openxmlformats.org/drawingml/2006/main" name="1_WHITE TEMPLATE">
  <a:themeElements>
    <a:clrScheme name="TT - Blue with white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MULTIPLE_MASTERS_Sept_2016.potx" id="{ECBC7363-A966-411C-ADC6-24676D8BE435}" vid="{2BB6782C-6926-424C-BAA7-2F1F2A62E2C2}"/>
    </a:ext>
  </a:extLst>
</a:theme>
</file>

<file path=ppt/theme/theme5.xml><?xml version="1.0" encoding="utf-8"?>
<a:theme xmlns:a="http://schemas.openxmlformats.org/drawingml/2006/main" name="1_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F843EB6D5A4045BB33F4B2A419A766" ma:contentTypeVersion="2" ma:contentTypeDescription="Create a new document." ma:contentTypeScope="" ma:versionID="d08cdc41d775bdacaca90b5155985767">
  <xsd:schema xmlns:xsd="http://www.w3.org/2001/XMLSchema" xmlns:xs="http://www.w3.org/2001/XMLSchema" xmlns:p="http://schemas.microsoft.com/office/2006/metadata/properties" xmlns:ns2="32814a47-7dfb-4970-90f7-b06d7f743e32" targetNamespace="http://schemas.microsoft.com/office/2006/metadata/properties" ma:root="true" ma:fieldsID="65538c6c69509f6bf381027053eda232" ns2:_="">
    <xsd:import namespace="32814a47-7dfb-4970-90f7-b06d7f743e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814a47-7dfb-4970-90f7-b06d7f743e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630a2e83-186a-4a0f-ab27-bee8a8096ab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E1DD98C-F685-4AD4-BAA1-0E7D176858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814a47-7dfb-4970-90f7-b06d7f743e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-9_Business_BLUE_2017_22</Template>
  <TotalTime>25136</TotalTime>
  <Words>3451</Words>
  <Application>Microsoft Macintosh PowerPoint</Application>
  <PresentationFormat>Custom</PresentationFormat>
  <Paragraphs>775</Paragraphs>
  <Slides>113</Slides>
  <Notes>3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3</vt:i4>
      </vt:variant>
    </vt:vector>
  </HeadingPairs>
  <TitlesOfParts>
    <vt:vector size="130" baseType="lpstr">
      <vt:lpstr>MS PGothic</vt:lpstr>
      <vt:lpstr>Arial</vt:lpstr>
      <vt:lpstr>Calibri</vt:lpstr>
      <vt:lpstr>Consolas</vt:lpstr>
      <vt:lpstr>Courier New</vt:lpstr>
      <vt:lpstr>Segoe UI</vt:lpstr>
      <vt:lpstr>Segoe UI Light</vt:lpstr>
      <vt:lpstr>Segoe UI Semibold</vt:lpstr>
      <vt:lpstr>Segoe UI Semilight</vt:lpstr>
      <vt:lpstr>Times New Roman</vt:lpstr>
      <vt:lpstr>Wingdings</vt:lpstr>
      <vt:lpstr>WHITE TEMPLATE</vt:lpstr>
      <vt:lpstr>LIGHT GRAY TEMPLATE</vt:lpstr>
      <vt:lpstr>DARK GRAY TEMPLATE</vt:lpstr>
      <vt:lpstr>1_WHITE TEMPLATE</vt:lpstr>
      <vt:lpstr>1_5-30721_Build_2016_Template_Light</vt:lpstr>
      <vt:lpstr>think-cell Slide</vt:lpstr>
      <vt:lpstr>Leveraging Azure PaaS and Serverless to deliver business innovation</vt:lpstr>
      <vt:lpstr>Agenda</vt:lpstr>
      <vt:lpstr>Learning objectives</vt:lpstr>
      <vt:lpstr>Scenario overview</vt:lpstr>
      <vt:lpstr>Solution diagram</vt:lpstr>
      <vt:lpstr>Demo</vt:lpstr>
      <vt:lpstr>Azure App Service</vt:lpstr>
      <vt:lpstr>       Azure App Service</vt:lpstr>
      <vt:lpstr>App Service</vt:lpstr>
      <vt:lpstr>450K active customers | 1.2M apps &amp; sites hosted |&gt;13B requests per day</vt:lpstr>
      <vt:lpstr>Recent App Service announcements</vt:lpstr>
      <vt:lpstr>Web App comes to Linux in two forms </vt:lpstr>
      <vt:lpstr>       Web app for containers</vt:lpstr>
      <vt:lpstr>PowerPoint Presentation</vt:lpstr>
      <vt:lpstr>PowerPoint Presentation</vt:lpstr>
      <vt:lpstr>       App Service Isolated</vt:lpstr>
      <vt:lpstr>Azure API Management</vt:lpstr>
      <vt:lpstr>What’s in common?</vt:lpstr>
      <vt:lpstr>Strategic value of APIs</vt:lpstr>
      <vt:lpstr>API Management - a hub for enterprise APIs</vt:lpstr>
      <vt:lpstr>PowerPoint Presentation</vt:lpstr>
      <vt:lpstr>Recent API Management announcements</vt:lpstr>
      <vt:lpstr>Azure Functions</vt:lpstr>
      <vt:lpstr>What is Serverless? </vt:lpstr>
      <vt:lpstr>Benefits of Serverless </vt:lpstr>
      <vt:lpstr>Serverless application platform components</vt:lpstr>
      <vt:lpstr>Private Cloud and Edge</vt:lpstr>
      <vt:lpstr>Use bindings in your code</vt:lpstr>
      <vt:lpstr>Triggers and Bindings</vt:lpstr>
      <vt:lpstr>Developer productivity – new bindings</vt:lpstr>
      <vt:lpstr>Azure Logic Apps</vt:lpstr>
      <vt:lpstr>Logic Apps Workflow Designer</vt:lpstr>
      <vt:lpstr>PowerPoint Presentation</vt:lpstr>
      <vt:lpstr>PowerPoint Presentation</vt:lpstr>
      <vt:lpstr>Logic Apps </vt:lpstr>
      <vt:lpstr>Coffee!</vt:lpstr>
      <vt:lpstr>Agenda</vt:lpstr>
      <vt:lpstr>Preparing and deploying the solution</vt:lpstr>
      <vt:lpstr>Solution diagram</vt:lpstr>
      <vt:lpstr>0. Pre-requisites</vt:lpstr>
      <vt:lpstr>PowerPoint Presentation</vt:lpstr>
      <vt:lpstr>1. Create API Management Gateway</vt:lpstr>
      <vt:lpstr>PowerPoint Presentation</vt:lpstr>
      <vt:lpstr>2. Create CosmosDB</vt:lpstr>
      <vt:lpstr>PowerPoint Presentation</vt:lpstr>
      <vt:lpstr>PowerPoint Presentation</vt:lpstr>
      <vt:lpstr>3. Create Bing Speech API from Cognitive Services</vt:lpstr>
      <vt:lpstr>PowerPoint Presentation</vt:lpstr>
      <vt:lpstr>PowerPoint Presentation</vt:lpstr>
      <vt:lpstr>4. Create Text Analytics API from Cognitive Services</vt:lpstr>
      <vt:lpstr>PowerPoint Presentation</vt:lpstr>
      <vt:lpstr>PowerPoint Presentation</vt:lpstr>
      <vt:lpstr>5. Create Azure Database for MySQL</vt:lpstr>
      <vt:lpstr>PowerPoint Presentation</vt:lpstr>
      <vt:lpstr>PowerPoint Presentation</vt:lpstr>
      <vt:lpstr>PowerPoint Presentation</vt:lpstr>
      <vt:lpstr>6. Create Storage Account</vt:lpstr>
      <vt:lpstr>PowerPoint Presentation</vt:lpstr>
      <vt:lpstr>PowerPoint Presentation</vt:lpstr>
      <vt:lpstr>PowerPoint Presentation</vt:lpstr>
      <vt:lpstr>7.1 Create Web App for Feedback API running PHP on Linux</vt:lpstr>
      <vt:lpstr>PowerPoint Presentation</vt:lpstr>
      <vt:lpstr>7.2 Configure Feedback API</vt:lpstr>
      <vt:lpstr>PowerPoint Presentation</vt:lpstr>
      <vt:lpstr>PowerPoint Presentation</vt:lpstr>
      <vt:lpstr>PowerPoint Presentation</vt:lpstr>
      <vt:lpstr>8.1 Create Web App for new Feedback website running .NET on Windows</vt:lpstr>
      <vt:lpstr>PowerPoint Presentation</vt:lpstr>
      <vt:lpstr>8.2 Configure the new .NET Feedback webs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9.1 Create Function App to generate coupons</vt:lpstr>
      <vt:lpstr>PowerPoint Presentation</vt:lpstr>
      <vt:lpstr>9.2 Configure the Function App</vt:lpstr>
      <vt:lpstr>PowerPoint Presentation</vt:lpstr>
      <vt:lpstr>PowerPoint Presentation</vt:lpstr>
      <vt:lpstr>PowerPoint Presentation</vt:lpstr>
      <vt:lpstr>PowerPoint Presentation</vt:lpstr>
      <vt:lpstr>Importing Feedback API into API Management</vt:lpstr>
      <vt:lpstr>10.1 Import Feedback API using Swagg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0.2 Obtain the subscription key for Unlimited product</vt:lpstr>
      <vt:lpstr>PowerPoint Presentation</vt:lpstr>
      <vt:lpstr>PowerPoint Presentation</vt:lpstr>
      <vt:lpstr>PowerPoint Presentation</vt:lpstr>
      <vt:lpstr>Lunch!</vt:lpstr>
      <vt:lpstr>Agenda</vt:lpstr>
      <vt:lpstr>Integrating the solution using Logic Apps</vt:lpstr>
      <vt:lpstr>PowerPoint Presentation</vt:lpstr>
      <vt:lpstr>11. Create Logic App</vt:lpstr>
      <vt:lpstr>PowerPoint Presentation</vt:lpstr>
      <vt:lpstr>12.1 Create the workflow</vt:lpstr>
      <vt:lpstr>PowerPoint Presentation</vt:lpstr>
      <vt:lpstr>12.2 Add queue trigger</vt:lpstr>
      <vt:lpstr>12.2 Add Text Analytics action</vt:lpstr>
      <vt:lpstr>12.3 Add condition, when the sentiment is negative</vt:lpstr>
      <vt:lpstr>12.4 Add API Management action</vt:lpstr>
      <vt:lpstr>12.5 Add Generate Coupon Azure Function action</vt:lpstr>
      <vt:lpstr>12.6 Add Email action</vt:lpstr>
      <vt:lpstr>12.7 Delete the message from the queue</vt:lpstr>
      <vt:lpstr>PowerPoint Presentation</vt:lpstr>
      <vt:lpstr>Testing the solution</vt:lpstr>
      <vt:lpstr>PowerPoint Presentation</vt:lpstr>
      <vt:lpstr>Closing - 3 questions to you!</vt:lpstr>
      <vt:lpstr>Resources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Container Labs</dc:title>
  <dc:subject>&lt;Speech title here&gt;</dc:subject>
  <dc:creator>Ahmed Sabbour</dc:creator>
  <cp:keywords/>
  <dc:description>Template: _x000d_
Formatting: _x000d_
Audience Type:</dc:description>
  <cp:lastModifiedBy>Ahmed Sabbour</cp:lastModifiedBy>
  <cp:revision>195</cp:revision>
  <dcterms:created xsi:type="dcterms:W3CDTF">2017-07-30T07:40:57Z</dcterms:created>
  <dcterms:modified xsi:type="dcterms:W3CDTF">2017-10-24T19:43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0BB5962AB3C45A9A1CE1EC4C4F64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</Properties>
</file>